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3" r:id="rId3"/>
    <p:sldMasterId id="2147483696" r:id="rId4"/>
    <p:sldMasterId id="2147483709" r:id="rId5"/>
  </p:sldMasterIdLst>
  <p:notesMasterIdLst>
    <p:notesMasterId r:id="rId14"/>
  </p:notesMasterIdLst>
  <p:sldIdLst>
    <p:sldId id="605" r:id="rId6"/>
    <p:sldId id="2689" r:id="rId7"/>
    <p:sldId id="2655" r:id="rId8"/>
    <p:sldId id="2706" r:id="rId9"/>
    <p:sldId id="2707" r:id="rId10"/>
    <p:sldId id="2708" r:id="rId11"/>
    <p:sldId id="2709" r:id="rId12"/>
    <p:sldId id="2705" r:id="rId13"/>
  </p:sldIdLst>
  <p:sldSz cx="12192000" cy="6858000"/>
  <p:notesSz cx="6805613" cy="99441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Reddy" initials="" lastIdx="3" clrIdx="0"/>
  <p:cmAuthor id="1" name="Laura Amaya" initials="LA" lastIdx="4" clrIdx="1"/>
  <p:cmAuthor id="2" name="Christina Hooson" initials="CH" lastIdx="3" clrIdx="2"/>
  <p:cmAuthor id="3" name="Sebastien Mazzuri" initials="SMZ" lastIdx="8" clrIdx="3"/>
  <p:cmAuthor id="4" name="George Jagoe" initials="GJ" lastIdx="4" clrIdx="4"/>
  <p:cmAuthor id="5" name="Hans Rietveld" initials="HR" lastIdx="6" clrIdx="5">
    <p:extLst>
      <p:ext uri="{19B8F6BF-5375-455C-9EA6-DF929625EA0E}">
        <p15:presenceInfo xmlns:p15="http://schemas.microsoft.com/office/powerpoint/2012/main" userId="S::rietveldh@mmv.org::218518f5-0a15-46d2-98af-a3b9362d1a32" providerId="AD"/>
      </p:ext>
    </p:extLst>
  </p:cmAuthor>
  <p:cmAuthor id="6" name="Celine Audibert" initials="CA" lastIdx="2" clrIdx="6">
    <p:extLst>
      <p:ext uri="{19B8F6BF-5375-455C-9EA6-DF929625EA0E}">
        <p15:presenceInfo xmlns:p15="http://schemas.microsoft.com/office/powerpoint/2012/main" userId="S::audibertc@mmv.org::8796d7c5-f4bb-47e6-92d8-58fb126ac2b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2D050"/>
    <a:srgbClr val="660066"/>
    <a:srgbClr val="E4B0BB"/>
    <a:srgbClr val="EACCFC"/>
    <a:srgbClr val="F0DBFD"/>
    <a:srgbClr val="F1E7EA"/>
    <a:srgbClr val="7ABC32"/>
    <a:srgbClr val="80C535"/>
    <a:srgbClr val="FFD9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16DA2B-876A-425F-AE1F-F39451F685F4}" v="68" dt="2022-02-28T12:53:11.5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77" autoAdjust="0"/>
    <p:restoredTop sz="76021" autoAdjust="0"/>
  </p:normalViewPr>
  <p:slideViewPr>
    <p:cSldViewPr snapToGrid="0">
      <p:cViewPr varScale="1">
        <p:scale>
          <a:sx n="114" d="100"/>
          <a:sy n="114" d="100"/>
        </p:scale>
        <p:origin x="792" y="96"/>
      </p:cViewPr>
      <p:guideLst>
        <p:guide orient="horz" pos="3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line Audibert" userId="8796d7c5-f4bb-47e6-92d8-58fb126ac2b1" providerId="ADAL" clId="{6F16DA2B-876A-425F-AE1F-F39451F685F4}"/>
    <pc:docChg chg="custSel addSld delSld modSld">
      <pc:chgData name="Celine Audibert" userId="8796d7c5-f4bb-47e6-92d8-58fb126ac2b1" providerId="ADAL" clId="{6F16DA2B-876A-425F-AE1F-F39451F685F4}" dt="2022-02-28T12:53:11.566" v="1766" actId="208"/>
      <pc:docMkLst>
        <pc:docMk/>
      </pc:docMkLst>
      <pc:sldChg chg="modSp mod">
        <pc:chgData name="Celine Audibert" userId="8796d7c5-f4bb-47e6-92d8-58fb126ac2b1" providerId="ADAL" clId="{6F16DA2B-876A-425F-AE1F-F39451F685F4}" dt="2022-02-28T07:37:20.354" v="83" actId="20577"/>
        <pc:sldMkLst>
          <pc:docMk/>
          <pc:sldMk cId="1114580196" sldId="605"/>
        </pc:sldMkLst>
        <pc:spChg chg="mod">
          <ac:chgData name="Celine Audibert" userId="8796d7c5-f4bb-47e6-92d8-58fb126ac2b1" providerId="ADAL" clId="{6F16DA2B-876A-425F-AE1F-F39451F685F4}" dt="2022-02-28T07:37:20.354" v="83" actId="20577"/>
          <ac:spMkLst>
            <pc:docMk/>
            <pc:sldMk cId="1114580196" sldId="605"/>
            <ac:spMk id="9218" creationId="{00000000-0000-0000-0000-000000000000}"/>
          </ac:spMkLst>
        </pc:spChg>
        <pc:spChg chg="mod">
          <ac:chgData name="Celine Audibert" userId="8796d7c5-f4bb-47e6-92d8-58fb126ac2b1" providerId="ADAL" clId="{6F16DA2B-876A-425F-AE1F-F39451F685F4}" dt="2022-02-28T07:37:01.198" v="48" actId="20577"/>
          <ac:spMkLst>
            <pc:docMk/>
            <pc:sldMk cId="1114580196" sldId="605"/>
            <ac:spMk id="9220" creationId="{00000000-0000-0000-0000-000000000000}"/>
          </ac:spMkLst>
        </pc:spChg>
      </pc:sldChg>
      <pc:sldChg chg="addSp delSp modSp mod">
        <pc:chgData name="Celine Audibert" userId="8796d7c5-f4bb-47e6-92d8-58fb126ac2b1" providerId="ADAL" clId="{6F16DA2B-876A-425F-AE1F-F39451F685F4}" dt="2022-02-28T08:32:10.160" v="1379" actId="27918"/>
        <pc:sldMkLst>
          <pc:docMk/>
          <pc:sldMk cId="2939836243" sldId="2655"/>
        </pc:sldMkLst>
        <pc:spChg chg="del mod">
          <ac:chgData name="Celine Audibert" userId="8796d7c5-f4bb-47e6-92d8-58fb126ac2b1" providerId="ADAL" clId="{6F16DA2B-876A-425F-AE1F-F39451F685F4}" dt="2022-02-28T07:49:41.650" v="785" actId="478"/>
          <ac:spMkLst>
            <pc:docMk/>
            <pc:sldMk cId="2939836243" sldId="2655"/>
            <ac:spMk id="8" creationId="{5D61C998-0DD4-409B-962C-59BF0E0868DD}"/>
          </ac:spMkLst>
        </pc:spChg>
        <pc:spChg chg="add mod">
          <ac:chgData name="Celine Audibert" userId="8796d7c5-f4bb-47e6-92d8-58fb126ac2b1" providerId="ADAL" clId="{6F16DA2B-876A-425F-AE1F-F39451F685F4}" dt="2022-02-28T08:09:43.058" v="1093" actId="20577"/>
          <ac:spMkLst>
            <pc:docMk/>
            <pc:sldMk cId="2939836243" sldId="2655"/>
            <ac:spMk id="11" creationId="{9A4EFA6D-9C31-49B2-9075-340C22DFF792}"/>
          </ac:spMkLst>
        </pc:spChg>
        <pc:spChg chg="mod">
          <ac:chgData name="Celine Audibert" userId="8796d7c5-f4bb-47e6-92d8-58fb126ac2b1" providerId="ADAL" clId="{6F16DA2B-876A-425F-AE1F-F39451F685F4}" dt="2022-02-28T07:49:27.757" v="782" actId="6549"/>
          <ac:spMkLst>
            <pc:docMk/>
            <pc:sldMk cId="2939836243" sldId="2655"/>
            <ac:spMk id="26" creationId="{04E7B442-A860-447B-A8A9-36AAB9479028}"/>
          </ac:spMkLst>
        </pc:spChg>
        <pc:graphicFrameChg chg="add mod">
          <ac:chgData name="Celine Audibert" userId="8796d7c5-f4bb-47e6-92d8-58fb126ac2b1" providerId="ADAL" clId="{6F16DA2B-876A-425F-AE1F-F39451F685F4}" dt="2022-02-28T08:06:28.758" v="820" actId="1037"/>
          <ac:graphicFrameMkLst>
            <pc:docMk/>
            <pc:sldMk cId="2939836243" sldId="2655"/>
            <ac:graphicFrameMk id="6" creationId="{B3C1DE9D-4170-4D07-935F-13560D3EF76F}"/>
          </ac:graphicFrameMkLst>
        </pc:graphicFrameChg>
        <pc:graphicFrameChg chg="add del mod">
          <ac:chgData name="Celine Audibert" userId="8796d7c5-f4bb-47e6-92d8-58fb126ac2b1" providerId="ADAL" clId="{6F16DA2B-876A-425F-AE1F-F39451F685F4}" dt="2022-02-28T08:07:35.613" v="823" actId="478"/>
          <ac:graphicFrameMkLst>
            <pc:docMk/>
            <pc:sldMk cId="2939836243" sldId="2655"/>
            <ac:graphicFrameMk id="7" creationId="{C4FD569A-EC97-4C82-951A-ECB080E76BAA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07:48.256" v="827" actId="14100"/>
          <ac:graphicFrameMkLst>
            <pc:docMk/>
            <pc:sldMk cId="2939836243" sldId="2655"/>
            <ac:graphicFrameMk id="10" creationId="{C4FD569A-EC97-4C82-951A-ECB080E76BAA}"/>
          </ac:graphicFrameMkLst>
        </pc:graphicFrameChg>
        <pc:picChg chg="del">
          <ac:chgData name="Celine Audibert" userId="8796d7c5-f4bb-47e6-92d8-58fb126ac2b1" providerId="ADAL" clId="{6F16DA2B-876A-425F-AE1F-F39451F685F4}" dt="2022-02-28T07:49:32.109" v="783" actId="478"/>
          <ac:picMkLst>
            <pc:docMk/>
            <pc:sldMk cId="2939836243" sldId="2655"/>
            <ac:picMk id="3" creationId="{604A94D6-AB17-497A-B258-A076999C90CF}"/>
          </ac:picMkLst>
        </pc:picChg>
        <pc:cxnChg chg="add mod">
          <ac:chgData name="Celine Audibert" userId="8796d7c5-f4bb-47e6-92d8-58fb126ac2b1" providerId="ADAL" clId="{6F16DA2B-876A-425F-AE1F-F39451F685F4}" dt="2022-02-28T08:08:05.208" v="830" actId="14100"/>
          <ac:cxnSpMkLst>
            <pc:docMk/>
            <pc:sldMk cId="2939836243" sldId="2655"/>
            <ac:cxnSpMk id="4" creationId="{EAE410AB-C102-4485-BE1A-FEFFD59DF8BE}"/>
          </ac:cxnSpMkLst>
        </pc:cxnChg>
      </pc:sldChg>
      <pc:sldChg chg="addSp delSp modSp mod">
        <pc:chgData name="Celine Audibert" userId="8796d7c5-f4bb-47e6-92d8-58fb126ac2b1" providerId="ADAL" clId="{6F16DA2B-876A-425F-AE1F-F39451F685F4}" dt="2022-02-28T07:48:28.798" v="703" actId="14100"/>
        <pc:sldMkLst>
          <pc:docMk/>
          <pc:sldMk cId="1975956018" sldId="2689"/>
        </pc:sldMkLst>
        <pc:spChg chg="mod">
          <ac:chgData name="Celine Audibert" userId="8796d7c5-f4bb-47e6-92d8-58fb126ac2b1" providerId="ADAL" clId="{6F16DA2B-876A-425F-AE1F-F39451F685F4}" dt="2022-02-28T07:38:11.807" v="127" actId="20577"/>
          <ac:spMkLst>
            <pc:docMk/>
            <pc:sldMk cId="1975956018" sldId="2689"/>
            <ac:spMk id="2" creationId="{A2E70CD0-81F4-4A8D-ADC4-170D2859B603}"/>
          </ac:spMkLst>
        </pc:spChg>
        <pc:spChg chg="mod">
          <ac:chgData name="Celine Audibert" userId="8796d7c5-f4bb-47e6-92d8-58fb126ac2b1" providerId="ADAL" clId="{6F16DA2B-876A-425F-AE1F-F39451F685F4}" dt="2022-02-28T07:48:14.425" v="701" actId="20577"/>
          <ac:spMkLst>
            <pc:docMk/>
            <pc:sldMk cId="1975956018" sldId="2689"/>
            <ac:spMk id="8" creationId="{F1147286-4B97-4CDC-B06F-33BD60399246}"/>
          </ac:spMkLst>
        </pc:spChg>
        <pc:picChg chg="del">
          <ac:chgData name="Celine Audibert" userId="8796d7c5-f4bb-47e6-92d8-58fb126ac2b1" providerId="ADAL" clId="{6F16DA2B-876A-425F-AE1F-F39451F685F4}" dt="2022-02-28T07:38:32.879" v="128" actId="478"/>
          <ac:picMkLst>
            <pc:docMk/>
            <pc:sldMk cId="1975956018" sldId="2689"/>
            <ac:picMk id="5" creationId="{ECBE9E55-FEDE-4699-9535-813E327CD070}"/>
          </ac:picMkLst>
        </pc:picChg>
        <pc:picChg chg="add del mod">
          <ac:chgData name="Celine Audibert" userId="8796d7c5-f4bb-47e6-92d8-58fb126ac2b1" providerId="ADAL" clId="{6F16DA2B-876A-425F-AE1F-F39451F685F4}" dt="2022-02-28T07:42:32.444" v="480" actId="478"/>
          <ac:picMkLst>
            <pc:docMk/>
            <pc:sldMk cId="1975956018" sldId="2689"/>
            <ac:picMk id="6" creationId="{F6474D86-BFA7-4526-821E-B4D85C2F12DF}"/>
          </ac:picMkLst>
        </pc:picChg>
        <pc:picChg chg="add mod">
          <ac:chgData name="Celine Audibert" userId="8796d7c5-f4bb-47e6-92d8-58fb126ac2b1" providerId="ADAL" clId="{6F16DA2B-876A-425F-AE1F-F39451F685F4}" dt="2022-02-28T07:48:28.798" v="703" actId="14100"/>
          <ac:picMkLst>
            <pc:docMk/>
            <pc:sldMk cId="1975956018" sldId="2689"/>
            <ac:picMk id="9" creationId="{1F872791-C5FB-484C-989E-E172CEF96C7F}"/>
          </ac:picMkLst>
        </pc:picChg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2781881086" sldId="2692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2772401178" sldId="2694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2291580407" sldId="2695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3908304542" sldId="2696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2420672638" sldId="2697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1911068845" sldId="2698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1447796322" sldId="2699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3384192818" sldId="2700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1233829740" sldId="2701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716216532" sldId="2702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72223516" sldId="2703"/>
        </pc:sldMkLst>
      </pc:sldChg>
      <pc:sldChg chg="del">
        <pc:chgData name="Celine Audibert" userId="8796d7c5-f4bb-47e6-92d8-58fb126ac2b1" providerId="ADAL" clId="{6F16DA2B-876A-425F-AE1F-F39451F685F4}" dt="2022-02-28T08:32:19.529" v="1381" actId="47"/>
        <pc:sldMkLst>
          <pc:docMk/>
          <pc:sldMk cId="194814588" sldId="2704"/>
        </pc:sldMkLst>
      </pc:sldChg>
      <pc:sldChg chg="addSp delSp modSp add mod">
        <pc:chgData name="Celine Audibert" userId="8796d7c5-f4bb-47e6-92d8-58fb126ac2b1" providerId="ADAL" clId="{6F16DA2B-876A-425F-AE1F-F39451F685F4}" dt="2022-02-28T08:30:17.519" v="1208" actId="27918"/>
        <pc:sldMkLst>
          <pc:docMk/>
          <pc:sldMk cId="1979066094" sldId="2706"/>
        </pc:sldMkLst>
        <pc:spChg chg="del">
          <ac:chgData name="Celine Audibert" userId="8796d7c5-f4bb-47e6-92d8-58fb126ac2b1" providerId="ADAL" clId="{6F16DA2B-876A-425F-AE1F-F39451F685F4}" dt="2022-02-28T08:20:23.672" v="1118" actId="478"/>
          <ac:spMkLst>
            <pc:docMk/>
            <pc:sldMk cId="1979066094" sldId="2706"/>
            <ac:spMk id="11" creationId="{9A4EFA6D-9C31-49B2-9075-340C22DFF792}"/>
          </ac:spMkLst>
        </pc:spChg>
        <pc:spChg chg="mod">
          <ac:chgData name="Celine Audibert" userId="8796d7c5-f4bb-47e6-92d8-58fb126ac2b1" providerId="ADAL" clId="{6F16DA2B-876A-425F-AE1F-F39451F685F4}" dt="2022-02-28T08:20:17.828" v="1115" actId="20577"/>
          <ac:spMkLst>
            <pc:docMk/>
            <pc:sldMk cId="1979066094" sldId="2706"/>
            <ac:spMk id="26" creationId="{04E7B442-A860-447B-A8A9-36AAB9479028}"/>
          </ac:spMkLst>
        </pc:spChg>
        <pc:graphicFrameChg chg="del">
          <ac:chgData name="Celine Audibert" userId="8796d7c5-f4bb-47e6-92d8-58fb126ac2b1" providerId="ADAL" clId="{6F16DA2B-876A-425F-AE1F-F39451F685F4}" dt="2022-02-28T08:20:20.201" v="1116" actId="478"/>
          <ac:graphicFrameMkLst>
            <pc:docMk/>
            <pc:sldMk cId="1979066094" sldId="2706"/>
            <ac:graphicFrameMk id="6" creationId="{B3C1DE9D-4170-4D07-935F-13560D3EF76F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21:18.003" v="1127" actId="14100"/>
          <ac:graphicFrameMkLst>
            <pc:docMk/>
            <pc:sldMk cId="1979066094" sldId="2706"/>
            <ac:graphicFrameMk id="8" creationId="{EF757555-C91D-4094-9388-33196B1783FE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21:18.003" v="1127" actId="14100"/>
          <ac:graphicFrameMkLst>
            <pc:docMk/>
            <pc:sldMk cId="1979066094" sldId="2706"/>
            <ac:graphicFrameMk id="9" creationId="{3DE35F0D-1A4C-4511-8FB7-55F21374B0A2}"/>
          </ac:graphicFrameMkLst>
        </pc:graphicFrameChg>
        <pc:graphicFrameChg chg="del">
          <ac:chgData name="Celine Audibert" userId="8796d7c5-f4bb-47e6-92d8-58fb126ac2b1" providerId="ADAL" clId="{6F16DA2B-876A-425F-AE1F-F39451F685F4}" dt="2022-02-28T08:20:20.728" v="1117" actId="478"/>
          <ac:graphicFrameMkLst>
            <pc:docMk/>
            <pc:sldMk cId="1979066094" sldId="2706"/>
            <ac:graphicFrameMk id="10" creationId="{C4FD569A-EC97-4C82-951A-ECB080E76BAA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21:55.137" v="1131"/>
          <ac:graphicFrameMkLst>
            <pc:docMk/>
            <pc:sldMk cId="1979066094" sldId="2706"/>
            <ac:graphicFrameMk id="12" creationId="{EF757555-C91D-4094-9388-33196B1783FE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21:55.137" v="1131"/>
          <ac:graphicFrameMkLst>
            <pc:docMk/>
            <pc:sldMk cId="1979066094" sldId="2706"/>
            <ac:graphicFrameMk id="13" creationId="{3DE35F0D-1A4C-4511-8FB7-55F21374B0A2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22:01.283" v="1135"/>
          <ac:graphicFrameMkLst>
            <pc:docMk/>
            <pc:sldMk cId="1979066094" sldId="2706"/>
            <ac:graphicFrameMk id="14" creationId="{EF757555-C91D-4094-9388-33196B1783FE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22:01.283" v="1135"/>
          <ac:graphicFrameMkLst>
            <pc:docMk/>
            <pc:sldMk cId="1979066094" sldId="2706"/>
            <ac:graphicFrameMk id="15" creationId="{3DE35F0D-1A4C-4511-8FB7-55F21374B0A2}"/>
          </ac:graphicFrameMkLst>
        </pc:graphicFrameChg>
        <pc:cxnChg chg="del">
          <ac:chgData name="Celine Audibert" userId="8796d7c5-f4bb-47e6-92d8-58fb126ac2b1" providerId="ADAL" clId="{6F16DA2B-876A-425F-AE1F-F39451F685F4}" dt="2022-02-28T08:20:24.425" v="1119" actId="478"/>
          <ac:cxnSpMkLst>
            <pc:docMk/>
            <pc:sldMk cId="1979066094" sldId="2706"/>
            <ac:cxnSpMk id="4" creationId="{EAE410AB-C102-4485-BE1A-FEFFD59DF8BE}"/>
          </ac:cxnSpMkLst>
        </pc:cxnChg>
      </pc:sldChg>
      <pc:sldChg chg="addSp delSp modSp add mod">
        <pc:chgData name="Celine Audibert" userId="8796d7c5-f4bb-47e6-92d8-58fb126ac2b1" providerId="ADAL" clId="{6F16DA2B-876A-425F-AE1F-F39451F685F4}" dt="2022-02-28T12:53:11.566" v="1766" actId="208"/>
        <pc:sldMkLst>
          <pc:docMk/>
          <pc:sldMk cId="928459529" sldId="2707"/>
        </pc:sldMkLst>
        <pc:spChg chg="add mod">
          <ac:chgData name="Celine Audibert" userId="8796d7c5-f4bb-47e6-92d8-58fb126ac2b1" providerId="ADAL" clId="{6F16DA2B-876A-425F-AE1F-F39451F685F4}" dt="2022-02-28T08:31:36.257" v="1377" actId="114"/>
          <ac:spMkLst>
            <pc:docMk/>
            <pc:sldMk cId="928459529" sldId="2707"/>
            <ac:spMk id="2" creationId="{CE56BE1A-9228-4F36-9DA0-E92F69C97378}"/>
          </ac:spMkLst>
        </pc:spChg>
        <pc:spChg chg="mod">
          <ac:chgData name="Celine Audibert" userId="8796d7c5-f4bb-47e6-92d8-58fb126ac2b1" providerId="ADAL" clId="{6F16DA2B-876A-425F-AE1F-F39451F685F4}" dt="2022-02-28T08:22:24.301" v="1197" actId="20577"/>
          <ac:spMkLst>
            <pc:docMk/>
            <pc:sldMk cId="928459529" sldId="2707"/>
            <ac:spMk id="26" creationId="{04E7B442-A860-447B-A8A9-36AAB9479028}"/>
          </ac:spMkLst>
        </pc:spChg>
        <pc:graphicFrameChg chg="add del mod">
          <ac:chgData name="Celine Audibert" userId="8796d7c5-f4bb-47e6-92d8-58fb126ac2b1" providerId="ADAL" clId="{6F16DA2B-876A-425F-AE1F-F39451F685F4}" dt="2022-02-28T12:51:41.933" v="1749" actId="478"/>
          <ac:graphicFrameMkLst>
            <pc:docMk/>
            <pc:sldMk cId="928459529" sldId="2707"/>
            <ac:graphicFrameMk id="6" creationId="{2630AA93-6CBF-4C13-996E-04D25D80595B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12:53:11.566" v="1766" actId="208"/>
          <ac:graphicFrameMkLst>
            <pc:docMk/>
            <pc:sldMk cId="928459529" sldId="2707"/>
            <ac:graphicFrameMk id="7" creationId="{2630AA93-6CBF-4C13-996E-04D25D80595B}"/>
          </ac:graphicFrameMkLst>
        </pc:graphicFrameChg>
        <pc:graphicFrameChg chg="del">
          <ac:chgData name="Celine Audibert" userId="8796d7c5-f4bb-47e6-92d8-58fb126ac2b1" providerId="ADAL" clId="{6F16DA2B-876A-425F-AE1F-F39451F685F4}" dt="2022-02-28T08:22:27.159" v="1198" actId="478"/>
          <ac:graphicFrameMkLst>
            <pc:docMk/>
            <pc:sldMk cId="928459529" sldId="2707"/>
            <ac:graphicFrameMk id="8" creationId="{EF757555-C91D-4094-9388-33196B1783FE}"/>
          </ac:graphicFrameMkLst>
        </pc:graphicFrameChg>
        <pc:graphicFrameChg chg="del">
          <ac:chgData name="Celine Audibert" userId="8796d7c5-f4bb-47e6-92d8-58fb126ac2b1" providerId="ADAL" clId="{6F16DA2B-876A-425F-AE1F-F39451F685F4}" dt="2022-02-28T08:22:27.624" v="1199" actId="478"/>
          <ac:graphicFrameMkLst>
            <pc:docMk/>
            <pc:sldMk cId="928459529" sldId="2707"/>
            <ac:graphicFrameMk id="9" creationId="{3DE35F0D-1A4C-4511-8FB7-55F21374B0A2}"/>
          </ac:graphicFrameMkLst>
        </pc:graphicFrameChg>
      </pc:sldChg>
      <pc:sldChg chg="addSp delSp modSp add mod">
        <pc:chgData name="Celine Audibert" userId="8796d7c5-f4bb-47e6-92d8-58fb126ac2b1" providerId="ADAL" clId="{6F16DA2B-876A-425F-AE1F-F39451F685F4}" dt="2022-02-28T09:13:26.767" v="1748" actId="27918"/>
        <pc:sldMkLst>
          <pc:docMk/>
          <pc:sldMk cId="4196423954" sldId="2708"/>
        </pc:sldMkLst>
        <pc:spChg chg="mod">
          <ac:chgData name="Celine Audibert" userId="8796d7c5-f4bb-47e6-92d8-58fb126ac2b1" providerId="ADAL" clId="{6F16DA2B-876A-425F-AE1F-F39451F685F4}" dt="2022-02-28T08:34:43.760" v="1538" actId="1036"/>
          <ac:spMkLst>
            <pc:docMk/>
            <pc:sldMk cId="4196423954" sldId="2708"/>
            <ac:spMk id="2" creationId="{CE56BE1A-9228-4F36-9DA0-E92F69C97378}"/>
          </ac:spMkLst>
        </pc:spChg>
        <pc:spChg chg="mod">
          <ac:chgData name="Celine Audibert" userId="8796d7c5-f4bb-47e6-92d8-58fb126ac2b1" providerId="ADAL" clId="{6F16DA2B-876A-425F-AE1F-F39451F685F4}" dt="2022-02-28T08:32:42.878" v="1401" actId="14100"/>
          <ac:spMkLst>
            <pc:docMk/>
            <pc:sldMk cId="4196423954" sldId="2708"/>
            <ac:spMk id="26" creationId="{04E7B442-A860-447B-A8A9-36AAB9479028}"/>
          </ac:spMkLst>
        </pc:spChg>
        <pc:graphicFrameChg chg="del">
          <ac:chgData name="Celine Audibert" userId="8796d7c5-f4bb-47e6-92d8-58fb126ac2b1" providerId="ADAL" clId="{6F16DA2B-876A-425F-AE1F-F39451F685F4}" dt="2022-02-28T08:32:24.263" v="1382" actId="478"/>
          <ac:graphicFrameMkLst>
            <pc:docMk/>
            <pc:sldMk cId="4196423954" sldId="2708"/>
            <ac:graphicFrameMk id="6" creationId="{2630AA93-6CBF-4C13-996E-04D25D80595B}"/>
          </ac:graphicFrameMkLst>
        </pc:graphicFrameChg>
        <pc:graphicFrameChg chg="add mod">
          <ac:chgData name="Celine Audibert" userId="8796d7c5-f4bb-47e6-92d8-58fb126ac2b1" providerId="ADAL" clId="{6F16DA2B-876A-425F-AE1F-F39451F685F4}" dt="2022-02-28T08:35:09.645" v="1539"/>
          <ac:graphicFrameMkLst>
            <pc:docMk/>
            <pc:sldMk cId="4196423954" sldId="2708"/>
            <ac:graphicFrameMk id="7" creationId="{08D9608A-5788-4C4F-97C0-8D9996A6B58C}"/>
          </ac:graphicFrameMkLst>
        </pc:graphicFrameChg>
      </pc:sldChg>
      <pc:sldChg chg="addSp delSp modSp add mod">
        <pc:chgData name="Celine Audibert" userId="8796d7c5-f4bb-47e6-92d8-58fb126ac2b1" providerId="ADAL" clId="{6F16DA2B-876A-425F-AE1F-F39451F685F4}" dt="2022-02-28T08:42:24.750" v="1743" actId="20577"/>
        <pc:sldMkLst>
          <pc:docMk/>
          <pc:sldMk cId="3307887163" sldId="2709"/>
        </pc:sldMkLst>
        <pc:spChg chg="mod">
          <ac:chgData name="Celine Audibert" userId="8796d7c5-f4bb-47e6-92d8-58fb126ac2b1" providerId="ADAL" clId="{6F16DA2B-876A-425F-AE1F-F39451F685F4}" dt="2022-02-28T08:42:24.750" v="1743" actId="20577"/>
          <ac:spMkLst>
            <pc:docMk/>
            <pc:sldMk cId="3307887163" sldId="2709"/>
            <ac:spMk id="2" creationId="{CE56BE1A-9228-4F36-9DA0-E92F69C97378}"/>
          </ac:spMkLst>
        </pc:spChg>
        <pc:spChg chg="mod">
          <ac:chgData name="Celine Audibert" userId="8796d7c5-f4bb-47e6-92d8-58fb126ac2b1" providerId="ADAL" clId="{6F16DA2B-876A-425F-AE1F-F39451F685F4}" dt="2022-02-28T08:36:38.425" v="1596" actId="20577"/>
          <ac:spMkLst>
            <pc:docMk/>
            <pc:sldMk cId="3307887163" sldId="2709"/>
            <ac:spMk id="26" creationId="{04E7B442-A860-447B-A8A9-36AAB9479028}"/>
          </ac:spMkLst>
        </pc:spChg>
        <pc:graphicFrameChg chg="add mod">
          <ac:chgData name="Celine Audibert" userId="8796d7c5-f4bb-47e6-92d8-58fb126ac2b1" providerId="ADAL" clId="{6F16DA2B-876A-425F-AE1F-F39451F685F4}" dt="2022-02-28T08:41:43.957" v="1640" actId="14100"/>
          <ac:graphicFrameMkLst>
            <pc:docMk/>
            <pc:sldMk cId="3307887163" sldId="2709"/>
            <ac:graphicFrameMk id="6" creationId="{2696B7CB-2383-403D-8636-47D29A7D4652}"/>
          </ac:graphicFrameMkLst>
        </pc:graphicFrameChg>
        <pc:graphicFrameChg chg="del">
          <ac:chgData name="Celine Audibert" userId="8796d7c5-f4bb-47e6-92d8-58fb126ac2b1" providerId="ADAL" clId="{6F16DA2B-876A-425F-AE1F-F39451F685F4}" dt="2022-02-28T08:36:41.133" v="1597" actId="478"/>
          <ac:graphicFrameMkLst>
            <pc:docMk/>
            <pc:sldMk cId="3307887163" sldId="2709"/>
            <ac:graphicFrameMk id="7" creationId="{08D9608A-5788-4C4F-97C0-8D9996A6B58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1%20campaign/SMC%202021%20campaign_Data%20aggregated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/>
              <a:t>2021 SMC campaig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P$3</c:f>
              <c:strCache>
                <c:ptCount val="1"/>
                <c:pt idx="0">
                  <c:v>Plann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O$4:$O$16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P$4:$P$16</c:f>
              <c:numCache>
                <c:formatCode>#,##0</c:formatCode>
                <c:ptCount val="13"/>
                <c:pt idx="0">
                  <c:v>21533309.69210659</c:v>
                </c:pt>
                <c:pt idx="1">
                  <c:v>4448151.3007263914</c:v>
                </c:pt>
                <c:pt idx="2">
                  <c:v>4237963.25</c:v>
                </c:pt>
                <c:pt idx="3">
                  <c:v>2559561</c:v>
                </c:pt>
                <c:pt idx="4">
                  <c:v>1262612.5</c:v>
                </c:pt>
                <c:pt idx="5">
                  <c:v>1103059.3645787542</c:v>
                </c:pt>
                <c:pt idx="6">
                  <c:v>836975</c:v>
                </c:pt>
                <c:pt idx="7">
                  <c:v>483075.5</c:v>
                </c:pt>
                <c:pt idx="8">
                  <c:v>415755.09479437087</c:v>
                </c:pt>
                <c:pt idx="9">
                  <c:v>11658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B1-4699-AD19-41F538B71F99}"/>
            </c:ext>
          </c:extLst>
        </c:ser>
        <c:ser>
          <c:idx val="1"/>
          <c:order val="1"/>
          <c:tx>
            <c:strRef>
              <c:f>Graphs!$Q$3</c:f>
              <c:strCache>
                <c:ptCount val="1"/>
                <c:pt idx="0">
                  <c:v>Cover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O$4:$O$16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Q$4:$Q$16</c:f>
              <c:numCache>
                <c:formatCode>#,##0</c:formatCode>
                <c:ptCount val="13"/>
                <c:pt idx="0">
                  <c:v>23686203</c:v>
                </c:pt>
                <c:pt idx="1">
                  <c:v>4457574.75</c:v>
                </c:pt>
                <c:pt idx="2">
                  <c:v>4420642.5</c:v>
                </c:pt>
                <c:pt idx="3">
                  <c:v>2511759.25</c:v>
                </c:pt>
                <c:pt idx="4">
                  <c:v>1200805.75</c:v>
                </c:pt>
                <c:pt idx="5">
                  <c:v>1123038</c:v>
                </c:pt>
                <c:pt idx="6">
                  <c:v>747738.66666666663</c:v>
                </c:pt>
                <c:pt idx="7">
                  <c:v>475996.5</c:v>
                </c:pt>
                <c:pt idx="8">
                  <c:v>374560</c:v>
                </c:pt>
                <c:pt idx="9">
                  <c:v>108393.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B1-4699-AD19-41F538B71F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81081839"/>
        <c:axId val="1981072687"/>
      </c:barChart>
      <c:catAx>
        <c:axId val="1981081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81072687"/>
        <c:crosses val="autoZero"/>
        <c:auto val="1"/>
        <c:lblAlgn val="ctr"/>
        <c:lblOffset val="100"/>
        <c:noMultiLvlLbl val="0"/>
      </c:catAx>
      <c:valAx>
        <c:axId val="19810726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/>
                  <a:t>Average number of children receiving 4 cyc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81081839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% coverage 2021 campaig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B$27</c:f>
              <c:strCache>
                <c:ptCount val="1"/>
                <c:pt idx="0">
                  <c:v>% cove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28:$A$40</c:f>
              <c:strCache>
                <c:ptCount val="13"/>
                <c:pt idx="0">
                  <c:v>Nigeria</c:v>
                </c:pt>
                <c:pt idx="1">
                  <c:v>Burkina Faso</c:v>
                </c:pt>
                <c:pt idx="2">
                  <c:v>Guinea</c:v>
                </c:pt>
                <c:pt idx="3">
                  <c:v>Niger</c:v>
                </c:pt>
                <c:pt idx="4">
                  <c:v>Togo</c:v>
                </c:pt>
                <c:pt idx="5">
                  <c:v>Chad</c:v>
                </c:pt>
                <c:pt idx="6">
                  <c:v>Ghana</c:v>
                </c:pt>
                <c:pt idx="7">
                  <c:v>Guinea-Bissau</c:v>
                </c:pt>
                <c:pt idx="8">
                  <c:v>Benin</c:v>
                </c:pt>
                <c:pt idx="9">
                  <c:v>Senegal</c:v>
                </c:pt>
                <c:pt idx="10">
                  <c:v>Mali</c:v>
                </c:pt>
                <c:pt idx="11">
                  <c:v>Cameroon</c:v>
                </c:pt>
                <c:pt idx="12">
                  <c:v>Gambia</c:v>
                </c:pt>
              </c:strCache>
            </c:strRef>
          </c:cat>
          <c:val>
            <c:numRef>
              <c:f>Graphs!$B$28:$B$40</c:f>
              <c:numCache>
                <c:formatCode>0%</c:formatCode>
                <c:ptCount val="13"/>
                <c:pt idx="0">
                  <c:v>1.0979249670867983</c:v>
                </c:pt>
                <c:pt idx="1">
                  <c:v>1.0438269233855171</c:v>
                </c:pt>
                <c:pt idx="2">
                  <c:v>1.017173145143246</c:v>
                </c:pt>
                <c:pt idx="3">
                  <c:v>1.0021185091595399</c:v>
                </c:pt>
                <c:pt idx="4">
                  <c:v>0.98534597593957884</c:v>
                </c:pt>
                <c:pt idx="5">
                  <c:v>0.98126800622987254</c:v>
                </c:pt>
                <c:pt idx="6">
                  <c:v>0.95104852042887267</c:v>
                </c:pt>
                <c:pt idx="7">
                  <c:v>0.92975390923204926</c:v>
                </c:pt>
                <c:pt idx="8">
                  <c:v>0.90091499704953548</c:v>
                </c:pt>
                <c:pt idx="9">
                  <c:v>0.8940542329901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AB-4958-86EA-B74FC567CD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7518488"/>
        <c:axId val="657518816"/>
      </c:barChart>
      <c:catAx>
        <c:axId val="657518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57518816"/>
        <c:crosses val="autoZero"/>
        <c:auto val="1"/>
        <c:lblAlgn val="ctr"/>
        <c:lblOffset val="100"/>
        <c:noMultiLvlLbl val="0"/>
      </c:catAx>
      <c:valAx>
        <c:axId val="657518816"/>
        <c:scaling>
          <c:orientation val="minMax"/>
          <c:min val="0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57518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verage 2021</a:t>
            </a:r>
            <a:r>
              <a:rPr lang="en-US" baseline="0"/>
              <a:t> SMC campaign by age group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phs!$B$51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52:$A$64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B$52:$B$64</c:f>
              <c:numCache>
                <c:formatCode>#,##0</c:formatCode>
                <c:ptCount val="13"/>
                <c:pt idx="0">
                  <c:v>4666584.25</c:v>
                </c:pt>
                <c:pt idx="1">
                  <c:v>727992.5</c:v>
                </c:pt>
                <c:pt idx="2">
                  <c:v>691033</c:v>
                </c:pt>
                <c:pt idx="3">
                  <c:v>1420171</c:v>
                </c:pt>
                <c:pt idx="4">
                  <c:v>163399.75</c:v>
                </c:pt>
                <c:pt idx="5">
                  <c:v>156339.25</c:v>
                </c:pt>
                <c:pt idx="6">
                  <c:v>67776</c:v>
                </c:pt>
                <c:pt idx="7">
                  <c:v>70814.75</c:v>
                </c:pt>
                <c:pt idx="8">
                  <c:v>48316.25</c:v>
                </c:pt>
                <c:pt idx="9">
                  <c:v>1841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97-46EC-B70A-0E3C0DDD8A84}"/>
            </c:ext>
          </c:extLst>
        </c:ser>
        <c:ser>
          <c:idx val="1"/>
          <c:order val="1"/>
          <c:tx>
            <c:strRef>
              <c:f>Graphs!$C$51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A$52:$A$64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C$52:$C$64</c:f>
              <c:numCache>
                <c:formatCode>#,##0</c:formatCode>
                <c:ptCount val="13"/>
                <c:pt idx="0">
                  <c:v>19019618.75</c:v>
                </c:pt>
                <c:pt idx="1">
                  <c:v>3729582.25</c:v>
                </c:pt>
                <c:pt idx="2">
                  <c:v>3729609.5</c:v>
                </c:pt>
                <c:pt idx="3">
                  <c:v>1091588.25</c:v>
                </c:pt>
                <c:pt idx="4">
                  <c:v>1037406</c:v>
                </c:pt>
                <c:pt idx="5">
                  <c:v>966698.75</c:v>
                </c:pt>
                <c:pt idx="6">
                  <c:v>354903</c:v>
                </c:pt>
                <c:pt idx="7">
                  <c:v>405181.75</c:v>
                </c:pt>
                <c:pt idx="8">
                  <c:v>326243.75</c:v>
                </c:pt>
                <c:pt idx="9">
                  <c:v>89979.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97-46EC-B70A-0E3C0DDD8A84}"/>
            </c:ext>
          </c:extLst>
        </c:ser>
        <c:ser>
          <c:idx val="2"/>
          <c:order val="2"/>
          <c:tx>
            <c:strRef>
              <c:f>Graphs!$D$51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A$52:$A$64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D$52:$D$64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25059.66666666669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97-46EC-B70A-0E3C0DDD8A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90408288"/>
        <c:axId val="590405336"/>
      </c:barChart>
      <c:catAx>
        <c:axId val="590408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0405336"/>
        <c:crosses val="autoZero"/>
        <c:auto val="1"/>
        <c:lblAlgn val="ctr"/>
        <c:lblOffset val="100"/>
        <c:noMultiLvlLbl val="0"/>
      </c:catAx>
      <c:valAx>
        <c:axId val="590405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verage number of children</a:t>
                </a:r>
                <a:r>
                  <a:rPr lang="en-US" baseline="0"/>
                  <a:t> covered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040828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hare of 2021</a:t>
            </a:r>
            <a:r>
              <a:rPr lang="en-US" baseline="0"/>
              <a:t> SMC campaign by age group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Graphs!$B$51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52:$A$64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B$52:$B$64</c:f>
              <c:numCache>
                <c:formatCode>#,##0</c:formatCode>
                <c:ptCount val="13"/>
                <c:pt idx="0">
                  <c:v>4666584.25</c:v>
                </c:pt>
                <c:pt idx="1">
                  <c:v>727992.5</c:v>
                </c:pt>
                <c:pt idx="2">
                  <c:v>691033</c:v>
                </c:pt>
                <c:pt idx="3">
                  <c:v>1420171</c:v>
                </c:pt>
                <c:pt idx="4">
                  <c:v>163399.75</c:v>
                </c:pt>
                <c:pt idx="5">
                  <c:v>156339.25</c:v>
                </c:pt>
                <c:pt idx="6">
                  <c:v>67776</c:v>
                </c:pt>
                <c:pt idx="7">
                  <c:v>70814.75</c:v>
                </c:pt>
                <c:pt idx="8">
                  <c:v>48316.25</c:v>
                </c:pt>
                <c:pt idx="9">
                  <c:v>1841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F2-42FA-9E35-B55FFFC8CE7F}"/>
            </c:ext>
          </c:extLst>
        </c:ser>
        <c:ser>
          <c:idx val="1"/>
          <c:order val="1"/>
          <c:tx>
            <c:strRef>
              <c:f>Graphs!$C$51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A$52:$A$64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C$52:$C$64</c:f>
              <c:numCache>
                <c:formatCode>#,##0</c:formatCode>
                <c:ptCount val="13"/>
                <c:pt idx="0">
                  <c:v>19019618.75</c:v>
                </c:pt>
                <c:pt idx="1">
                  <c:v>3729582.25</c:v>
                </c:pt>
                <c:pt idx="2">
                  <c:v>3729609.5</c:v>
                </c:pt>
                <c:pt idx="3">
                  <c:v>1091588.25</c:v>
                </c:pt>
                <c:pt idx="4">
                  <c:v>1037406</c:v>
                </c:pt>
                <c:pt idx="5">
                  <c:v>966698.75</c:v>
                </c:pt>
                <c:pt idx="6">
                  <c:v>354903</c:v>
                </c:pt>
                <c:pt idx="7">
                  <c:v>405181.75</c:v>
                </c:pt>
                <c:pt idx="8">
                  <c:v>326243.75</c:v>
                </c:pt>
                <c:pt idx="9">
                  <c:v>89979.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F2-42FA-9E35-B55FFFC8CE7F}"/>
            </c:ext>
          </c:extLst>
        </c:ser>
        <c:ser>
          <c:idx val="2"/>
          <c:order val="2"/>
          <c:tx>
            <c:strRef>
              <c:f>Graphs!$D$51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A$52:$A$64</c:f>
              <c:strCache>
                <c:ptCount val="13"/>
                <c:pt idx="0">
                  <c:v>Nigeria</c:v>
                </c:pt>
                <c:pt idx="1">
                  <c:v>Niger</c:v>
                </c:pt>
                <c:pt idx="2">
                  <c:v>Burkina Faso</c:v>
                </c:pt>
                <c:pt idx="3">
                  <c:v>Chad</c:v>
                </c:pt>
                <c:pt idx="4">
                  <c:v>Ghana</c:v>
                </c:pt>
                <c:pt idx="5">
                  <c:v>Guinea</c:v>
                </c:pt>
                <c:pt idx="6">
                  <c:v>Senegal</c:v>
                </c:pt>
                <c:pt idx="7">
                  <c:v>Togo</c:v>
                </c:pt>
                <c:pt idx="8">
                  <c:v>Benin</c:v>
                </c:pt>
                <c:pt idx="9">
                  <c:v>Guinea-Bissau</c:v>
                </c:pt>
                <c:pt idx="10">
                  <c:v>Cameroon</c:v>
                </c:pt>
                <c:pt idx="11">
                  <c:v>Gambia</c:v>
                </c:pt>
                <c:pt idx="12">
                  <c:v>Mali</c:v>
                </c:pt>
              </c:strCache>
            </c:strRef>
          </c:cat>
          <c:val>
            <c:numRef>
              <c:f>Graphs!$D$52:$D$64</c:f>
              <c:numCache>
                <c:formatCode>#,##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325059.66666666669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F2-42FA-9E35-B55FFFC8C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90408288"/>
        <c:axId val="590405336"/>
      </c:barChart>
      <c:catAx>
        <c:axId val="590408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0405336"/>
        <c:crosses val="autoZero"/>
        <c:auto val="1"/>
        <c:lblAlgn val="ctr"/>
        <c:lblOffset val="100"/>
        <c:noMultiLvlLbl val="0"/>
      </c:catAx>
      <c:valAx>
        <c:axId val="590405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Share of number of children</a:t>
                </a:r>
                <a:r>
                  <a:rPr lang="en-US" baseline="0"/>
                  <a:t> covered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0408288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/>
              <a:t>Average number of children covered per yea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13"/>
          <c:order val="13"/>
          <c:tx>
            <c:strRef>
              <c:f>Graphs!$A$87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7:$I$87</c:f>
              <c:numCache>
                <c:formatCode>#,##0</c:formatCode>
                <c:ptCount val="8"/>
                <c:pt idx="0">
                  <c:v>2695667.5833333335</c:v>
                </c:pt>
                <c:pt idx="1">
                  <c:v>5623598.5</c:v>
                </c:pt>
                <c:pt idx="2">
                  <c:v>13704815.75</c:v>
                </c:pt>
                <c:pt idx="3">
                  <c:v>16411799.947860261</c:v>
                </c:pt>
                <c:pt idx="4">
                  <c:v>19466521.25</c:v>
                </c:pt>
                <c:pt idx="5">
                  <c:v>21703051.002712499</c:v>
                </c:pt>
                <c:pt idx="6">
                  <c:v>33510551.322343037</c:v>
                </c:pt>
                <c:pt idx="7">
                  <c:v>39106711.916666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B3-45FD-B600-C460C80F3657}"/>
            </c:ext>
          </c:extLst>
        </c:ser>
        <c:ser>
          <c:idx val="14"/>
          <c:order val="14"/>
          <c:tx>
            <c:strRef>
              <c:f>Graphs!$A$88</c:f>
              <c:strCache>
                <c:ptCount val="1"/>
                <c:pt idx="0">
                  <c:v>Total (projected)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8:$I$88</c:f>
              <c:numCache>
                <c:formatCode>#,##0</c:formatCode>
                <c:ptCount val="8"/>
                <c:pt idx="0">
                  <c:v>2695667.5833333335</c:v>
                </c:pt>
                <c:pt idx="1">
                  <c:v>5623598.5</c:v>
                </c:pt>
                <c:pt idx="2">
                  <c:v>13704815.75</c:v>
                </c:pt>
                <c:pt idx="3">
                  <c:v>16411799.947860261</c:v>
                </c:pt>
                <c:pt idx="4">
                  <c:v>19466521.25</c:v>
                </c:pt>
                <c:pt idx="5">
                  <c:v>21703051.002712499</c:v>
                </c:pt>
                <c:pt idx="6">
                  <c:v>33510551.322343037</c:v>
                </c:pt>
                <c:pt idx="7">
                  <c:v>44490688.916666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B3-45FD-B600-C460C80F3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80775663"/>
        <c:axId val="1980776495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raphs!$A$74</c15:sqref>
                        </c15:formulaRef>
                      </c:ext>
                    </c:extLst>
                    <c:strCache>
                      <c:ptCount val="1"/>
                      <c:pt idx="0">
                        <c:v>Nigeria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Graphs!$B$74:$I$74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370279.5</c:v>
                      </c:pt>
                      <c:pt idx="1">
                        <c:v>787399.25</c:v>
                      </c:pt>
                      <c:pt idx="2">
                        <c:v>1579229</c:v>
                      </c:pt>
                      <c:pt idx="3">
                        <c:v>2284915</c:v>
                      </c:pt>
                      <c:pt idx="4">
                        <c:v>3460732.75</c:v>
                      </c:pt>
                      <c:pt idx="5">
                        <c:v>4110152.25</c:v>
                      </c:pt>
                      <c:pt idx="6">
                        <c:v>13359529.5</c:v>
                      </c:pt>
                      <c:pt idx="7">
                        <c:v>2368620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F2B3-45FD-B600-C460C80F3657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75</c15:sqref>
                        </c15:formulaRef>
                      </c:ext>
                    </c:extLst>
                    <c:strCache>
                      <c:ptCount val="1"/>
                      <c:pt idx="0">
                        <c:v>Niger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5:$I$75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518109.5</c:v>
                      </c:pt>
                      <c:pt idx="1">
                        <c:v>646173</c:v>
                      </c:pt>
                      <c:pt idx="2">
                        <c:v>1994344.75</c:v>
                      </c:pt>
                      <c:pt idx="3">
                        <c:v>2545885.25</c:v>
                      </c:pt>
                      <c:pt idx="4">
                        <c:v>3810883.75</c:v>
                      </c:pt>
                      <c:pt idx="5">
                        <c:v>4151103</c:v>
                      </c:pt>
                      <c:pt idx="6">
                        <c:v>4516729</c:v>
                      </c:pt>
                      <c:pt idx="7">
                        <c:v>4457574.7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F2B3-45FD-B600-C460C80F3657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76</c15:sqref>
                        </c15:formulaRef>
                      </c:ext>
                    </c:extLst>
                    <c:strCache>
                      <c:ptCount val="1"/>
                      <c:pt idx="0">
                        <c:v>Burkina Faso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6:$I$76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307770.25</c:v>
                      </c:pt>
                      <c:pt idx="1">
                        <c:v>860057.75</c:v>
                      </c:pt>
                      <c:pt idx="2">
                        <c:v>2648082.75</c:v>
                      </c:pt>
                      <c:pt idx="3">
                        <c:v>2949900.75</c:v>
                      </c:pt>
                      <c:pt idx="4">
                        <c:v>3298397</c:v>
                      </c:pt>
                      <c:pt idx="5">
                        <c:v>3298397</c:v>
                      </c:pt>
                      <c:pt idx="6">
                        <c:v>4136042</c:v>
                      </c:pt>
                      <c:pt idx="7">
                        <c:v>4420642.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F2B3-45FD-B600-C460C80F3657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77</c15:sqref>
                        </c15:formulaRef>
                      </c:ext>
                    </c:extLst>
                    <c:strCache>
                      <c:ptCount val="1"/>
                      <c:pt idx="0">
                        <c:v>Chad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7:$I$77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27306.5</c:v>
                      </c:pt>
                      <c:pt idx="1">
                        <c:v>322492.75</c:v>
                      </c:pt>
                      <c:pt idx="2">
                        <c:v>824805.5</c:v>
                      </c:pt>
                      <c:pt idx="3">
                        <c:v>899319.86452692689</c:v>
                      </c:pt>
                      <c:pt idx="4">
                        <c:v>1184705.75</c:v>
                      </c:pt>
                      <c:pt idx="5">
                        <c:v>1491904.5027125</c:v>
                      </c:pt>
                      <c:pt idx="6">
                        <c:v>2259851.4056763677</c:v>
                      </c:pt>
                      <c:pt idx="7">
                        <c:v>2511759.2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F2B3-45FD-B600-C460C80F3657}"/>
                  </c:ext>
                </c:extLst>
              </c15:ser>
            </c15:filteredLineSeries>
            <c15:filteredLine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78</c15:sqref>
                        </c15:formulaRef>
                      </c:ext>
                    </c:extLst>
                    <c:strCache>
                      <c:ptCount val="1"/>
                      <c:pt idx="0">
                        <c:v>Ghana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8:$I$78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0</c:v>
                      </c:pt>
                      <c:pt idx="1">
                        <c:v>115309</c:v>
                      </c:pt>
                      <c:pt idx="2">
                        <c:v>151509.75</c:v>
                      </c:pt>
                      <c:pt idx="3">
                        <c:v>327445.5</c:v>
                      </c:pt>
                      <c:pt idx="4">
                        <c:v>329953.25</c:v>
                      </c:pt>
                      <c:pt idx="5">
                        <c:v>964955.5</c:v>
                      </c:pt>
                      <c:pt idx="6">
                        <c:v>1033812.25</c:v>
                      </c:pt>
                      <c:pt idx="7">
                        <c:v>1200805.7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F2B3-45FD-B600-C460C80F3657}"/>
                  </c:ext>
                </c:extLst>
              </c15:ser>
            </c15:filteredLineSeries>
            <c15:filteredLine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79</c15:sqref>
                        </c15:formulaRef>
                      </c:ext>
                    </c:extLst>
                    <c:strCache>
                      <c:ptCount val="1"/>
                      <c:pt idx="0">
                        <c:v>Guinea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9:$I$79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0</c:v>
                      </c:pt>
                      <c:pt idx="1">
                        <c:v>201282.75</c:v>
                      </c:pt>
                      <c:pt idx="2">
                        <c:v>442177</c:v>
                      </c:pt>
                      <c:pt idx="3">
                        <c:v>575927.25</c:v>
                      </c:pt>
                      <c:pt idx="4">
                        <c:v>840119.75</c:v>
                      </c:pt>
                      <c:pt idx="5">
                        <c:v>750903</c:v>
                      </c:pt>
                      <c:pt idx="6">
                        <c:v>1088193.5</c:v>
                      </c:pt>
                      <c:pt idx="7">
                        <c:v>112303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F2B3-45FD-B600-C460C80F3657}"/>
                  </c:ext>
                </c:extLst>
              </c15:ser>
            </c15:filteredLineSeries>
            <c15:filteredLine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0</c15:sqref>
                        </c15:formulaRef>
                      </c:ext>
                    </c:extLst>
                    <c:strCache>
                      <c:ptCount val="1"/>
                      <c:pt idx="0">
                        <c:v>Senegal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0:$I$80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595745.33333333337</c:v>
                      </c:pt>
                      <c:pt idx="1">
                        <c:v>614447</c:v>
                      </c:pt>
                      <c:pt idx="2">
                        <c:v>621929</c:v>
                      </c:pt>
                      <c:pt idx="3">
                        <c:v>631921.33333333337</c:v>
                      </c:pt>
                      <c:pt idx="4">
                        <c:v>0</c:v>
                      </c:pt>
                      <c:pt idx="5">
                        <c:v>879220</c:v>
                      </c:pt>
                      <c:pt idx="6">
                        <c:v>687634.66666666663</c:v>
                      </c:pt>
                      <c:pt idx="7">
                        <c:v>747738.6666666666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F2B3-45FD-B600-C460C80F3657}"/>
                  </c:ext>
                </c:extLst>
              </c15:ser>
            </c15:filteredLineSeries>
            <c15:filteredLine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1</c15:sqref>
                        </c15:formulaRef>
                      </c:ext>
                    </c:extLst>
                    <c:strCache>
                      <c:ptCount val="1"/>
                      <c:pt idx="0">
                        <c:v>Togo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1:$I$81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127623.5</c:v>
                      </c:pt>
                      <c:pt idx="1">
                        <c:v>0</c:v>
                      </c:pt>
                      <c:pt idx="2">
                        <c:v>411811</c:v>
                      </c:pt>
                      <c:pt idx="3">
                        <c:v>382318.75</c:v>
                      </c:pt>
                      <c:pt idx="4">
                        <c:v>434161</c:v>
                      </c:pt>
                      <c:pt idx="5">
                        <c:v>296331.75</c:v>
                      </c:pt>
                      <c:pt idx="6">
                        <c:v>486715.75</c:v>
                      </c:pt>
                      <c:pt idx="7">
                        <c:v>475996.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F2B3-45FD-B600-C460C80F3657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2</c15:sqref>
                        </c15:formulaRef>
                      </c:ext>
                    </c:extLst>
                    <c:strCache>
                      <c:ptCount val="1"/>
                      <c:pt idx="0">
                        <c:v>Benin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2:$I$82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114165.25</c:v>
                      </c:pt>
                      <c:pt idx="6">
                        <c:v>214122.75</c:v>
                      </c:pt>
                      <c:pt idx="7">
                        <c:v>37456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2B3-45FD-B600-C460C80F3657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3</c15:sqref>
                        </c15:formulaRef>
                      </c:ext>
                    </c:extLst>
                    <c:strCache>
                      <c:ptCount val="1"/>
                      <c:pt idx="0">
                        <c:v>Guinea-Bissau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3:$I$83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0</c:v>
                      </c:pt>
                      <c:pt idx="1">
                        <c:v>0</c:v>
                      </c:pt>
                      <c:pt idx="2">
                        <c:v>36680.5</c:v>
                      </c:pt>
                      <c:pt idx="3">
                        <c:v>166161.75</c:v>
                      </c:pt>
                      <c:pt idx="4">
                        <c:v>90998</c:v>
                      </c:pt>
                      <c:pt idx="5">
                        <c:v>86107.25</c:v>
                      </c:pt>
                      <c:pt idx="6">
                        <c:v>86107.25</c:v>
                      </c:pt>
                      <c:pt idx="7">
                        <c:v>108393.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2B3-45FD-B600-C460C80F3657}"/>
                  </c:ext>
                </c:extLst>
              </c15:ser>
            </c15:filteredLineSeries>
            <c15:filteredLine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4</c15:sqref>
                        </c15:formulaRef>
                      </c:ext>
                    </c:extLst>
                    <c:strCache>
                      <c:ptCount val="1"/>
                      <c:pt idx="0">
                        <c:v>Mali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4:$I$84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699880</c:v>
                      </c:pt>
                      <c:pt idx="1">
                        <c:v>1999987</c:v>
                      </c:pt>
                      <c:pt idx="2">
                        <c:v>3849671.75</c:v>
                      </c:pt>
                      <c:pt idx="3">
                        <c:v>3990095.5</c:v>
                      </c:pt>
                      <c:pt idx="4">
                        <c:v>4278401</c:v>
                      </c:pt>
                      <c:pt idx="5">
                        <c:v>3767205.25</c:v>
                      </c:pt>
                      <c:pt idx="6">
                        <c:v>3739238</c:v>
                      </c:pt>
                      <c:pt idx="7">
                        <c:v>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F2B3-45FD-B600-C460C80F3657}"/>
                  </c:ext>
                </c:extLst>
              </c15:ser>
            </c15:filteredLineSeries>
            <c15:filteredLine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5</c15:sqref>
                        </c15:formulaRef>
                      </c:ext>
                    </c:extLst>
                    <c:strCache>
                      <c:ptCount val="1"/>
                      <c:pt idx="0">
                        <c:v>Cameroon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5:$I$85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0</c:v>
                      </c:pt>
                      <c:pt idx="1">
                        <c:v>0</c:v>
                      </c:pt>
                      <c:pt idx="2">
                        <c:v>1070865</c:v>
                      </c:pt>
                      <c:pt idx="3">
                        <c:v>1581182.75</c:v>
                      </c:pt>
                      <c:pt idx="4">
                        <c:v>1636658</c:v>
                      </c:pt>
                      <c:pt idx="5">
                        <c:v>1681736.75</c:v>
                      </c:pt>
                      <c:pt idx="6">
                        <c:v>1780741.75</c:v>
                      </c:pt>
                      <c:pt idx="7">
                        <c:v>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2B3-45FD-B600-C460C80F3657}"/>
                  </c:ext>
                </c:extLst>
              </c15:ser>
            </c15:filteredLineSeries>
            <c15:filteredLine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A$86</c15:sqref>
                        </c15:formulaRef>
                      </c:ext>
                    </c:extLst>
                    <c:strCache>
                      <c:ptCount val="1"/>
                      <c:pt idx="0">
                        <c:v>Gambi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73:$I$7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14</c:v>
                      </c:pt>
                      <c:pt idx="1">
                        <c:v>2015</c:v>
                      </c:pt>
                      <c:pt idx="2">
                        <c:v>2016</c:v>
                      </c:pt>
                      <c:pt idx="3">
                        <c:v>2017</c:v>
                      </c:pt>
                      <c:pt idx="4">
                        <c:v>2018</c:v>
                      </c:pt>
                      <c:pt idx="5">
                        <c:v>2019</c:v>
                      </c:pt>
                      <c:pt idx="6">
                        <c:v>2020</c:v>
                      </c:pt>
                      <c:pt idx="7">
                        <c:v>2021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Graphs!$B$86:$I$86</c15:sqref>
                        </c15:formulaRef>
                      </c:ext>
                    </c:extLst>
                    <c:numCache>
                      <c:formatCode>#,##0</c:formatCode>
                      <c:ptCount val="8"/>
                      <c:pt idx="0">
                        <c:v>48953</c:v>
                      </c:pt>
                      <c:pt idx="1">
                        <c:v>76450</c:v>
                      </c:pt>
                      <c:pt idx="2">
                        <c:v>73709.75</c:v>
                      </c:pt>
                      <c:pt idx="3">
                        <c:v>76726.25</c:v>
                      </c:pt>
                      <c:pt idx="4">
                        <c:v>101511</c:v>
                      </c:pt>
                      <c:pt idx="5">
                        <c:v>110869.5</c:v>
                      </c:pt>
                      <c:pt idx="6">
                        <c:v>121833.5</c:v>
                      </c:pt>
                      <c:pt idx="7">
                        <c:v>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2B3-45FD-B600-C460C80F3657}"/>
                  </c:ext>
                </c:extLst>
              </c15:ser>
            </c15:filteredLineSeries>
          </c:ext>
        </c:extLst>
      </c:lineChart>
      <c:catAx>
        <c:axId val="19807756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80776495"/>
        <c:crosses val="autoZero"/>
        <c:auto val="1"/>
        <c:lblAlgn val="ctr"/>
        <c:lblOffset val="100"/>
        <c:noMultiLvlLbl val="0"/>
      </c:catAx>
      <c:valAx>
        <c:axId val="1980776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r-CH"/>
                  <a:t>Aveerage number of children cover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980775663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number of children covered per yea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Graphs!$A$74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74:$I$74</c:f>
              <c:numCache>
                <c:formatCode>#,##0</c:formatCode>
                <c:ptCount val="8"/>
                <c:pt idx="0">
                  <c:v>370279.5</c:v>
                </c:pt>
                <c:pt idx="1">
                  <c:v>787399.25</c:v>
                </c:pt>
                <c:pt idx="2">
                  <c:v>1579229</c:v>
                </c:pt>
                <c:pt idx="3">
                  <c:v>2284915</c:v>
                </c:pt>
                <c:pt idx="4">
                  <c:v>3460732.75</c:v>
                </c:pt>
                <c:pt idx="5">
                  <c:v>4110152.25</c:v>
                </c:pt>
                <c:pt idx="6">
                  <c:v>13359529.5</c:v>
                </c:pt>
                <c:pt idx="7">
                  <c:v>23686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77-40D3-952E-0E869F2A5B8B}"/>
            </c:ext>
          </c:extLst>
        </c:ser>
        <c:ser>
          <c:idx val="1"/>
          <c:order val="1"/>
          <c:tx>
            <c:strRef>
              <c:f>Graphs!$A$75</c:f>
              <c:strCache>
                <c:ptCount val="1"/>
                <c:pt idx="0">
                  <c:v>Nig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75:$I$75</c:f>
              <c:numCache>
                <c:formatCode>#,##0</c:formatCode>
                <c:ptCount val="8"/>
                <c:pt idx="0">
                  <c:v>518109.5</c:v>
                </c:pt>
                <c:pt idx="1">
                  <c:v>646173</c:v>
                </c:pt>
                <c:pt idx="2">
                  <c:v>1994344.75</c:v>
                </c:pt>
                <c:pt idx="3">
                  <c:v>2545885.25</c:v>
                </c:pt>
                <c:pt idx="4">
                  <c:v>3810883.75</c:v>
                </c:pt>
                <c:pt idx="5">
                  <c:v>4151103</c:v>
                </c:pt>
                <c:pt idx="6">
                  <c:v>4516729</c:v>
                </c:pt>
                <c:pt idx="7">
                  <c:v>4457574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77-40D3-952E-0E869F2A5B8B}"/>
            </c:ext>
          </c:extLst>
        </c:ser>
        <c:ser>
          <c:idx val="2"/>
          <c:order val="2"/>
          <c:tx>
            <c:strRef>
              <c:f>Graphs!$A$76</c:f>
              <c:strCache>
                <c:ptCount val="1"/>
                <c:pt idx="0">
                  <c:v>Burkina Fas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76:$I$76</c:f>
              <c:numCache>
                <c:formatCode>#,##0</c:formatCode>
                <c:ptCount val="8"/>
                <c:pt idx="0">
                  <c:v>307770.25</c:v>
                </c:pt>
                <c:pt idx="1">
                  <c:v>860057.75</c:v>
                </c:pt>
                <c:pt idx="2">
                  <c:v>2648082.75</c:v>
                </c:pt>
                <c:pt idx="3">
                  <c:v>2949900.75</c:v>
                </c:pt>
                <c:pt idx="4">
                  <c:v>3298397</c:v>
                </c:pt>
                <c:pt idx="5">
                  <c:v>3298397</c:v>
                </c:pt>
                <c:pt idx="6">
                  <c:v>4136042</c:v>
                </c:pt>
                <c:pt idx="7">
                  <c:v>442064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77-40D3-952E-0E869F2A5B8B}"/>
            </c:ext>
          </c:extLst>
        </c:ser>
        <c:ser>
          <c:idx val="3"/>
          <c:order val="3"/>
          <c:tx>
            <c:strRef>
              <c:f>Graphs!$A$77</c:f>
              <c:strCache>
                <c:ptCount val="1"/>
                <c:pt idx="0">
                  <c:v>Chad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77:$I$77</c:f>
              <c:numCache>
                <c:formatCode>#,##0</c:formatCode>
                <c:ptCount val="8"/>
                <c:pt idx="0">
                  <c:v>27306.5</c:v>
                </c:pt>
                <c:pt idx="1">
                  <c:v>322492.75</c:v>
                </c:pt>
                <c:pt idx="2">
                  <c:v>824805.5</c:v>
                </c:pt>
                <c:pt idx="3">
                  <c:v>899319.86452692689</c:v>
                </c:pt>
                <c:pt idx="4">
                  <c:v>1184705.75</c:v>
                </c:pt>
                <c:pt idx="5">
                  <c:v>1491904.5027125</c:v>
                </c:pt>
                <c:pt idx="6">
                  <c:v>2259851.4056763677</c:v>
                </c:pt>
                <c:pt idx="7">
                  <c:v>251175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77-40D3-952E-0E869F2A5B8B}"/>
            </c:ext>
          </c:extLst>
        </c:ser>
        <c:ser>
          <c:idx val="4"/>
          <c:order val="4"/>
          <c:tx>
            <c:strRef>
              <c:f>Graphs!$A$78</c:f>
              <c:strCache>
                <c:ptCount val="1"/>
                <c:pt idx="0">
                  <c:v>Ghan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78:$I$78</c:f>
              <c:numCache>
                <c:formatCode>#,##0</c:formatCode>
                <c:ptCount val="8"/>
                <c:pt idx="0">
                  <c:v>0</c:v>
                </c:pt>
                <c:pt idx="1">
                  <c:v>115309</c:v>
                </c:pt>
                <c:pt idx="2">
                  <c:v>151509.75</c:v>
                </c:pt>
                <c:pt idx="3">
                  <c:v>327445.5</c:v>
                </c:pt>
                <c:pt idx="4">
                  <c:v>329953.25</c:v>
                </c:pt>
                <c:pt idx="5">
                  <c:v>964955.5</c:v>
                </c:pt>
                <c:pt idx="6">
                  <c:v>1033812.25</c:v>
                </c:pt>
                <c:pt idx="7">
                  <c:v>1200805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77-40D3-952E-0E869F2A5B8B}"/>
            </c:ext>
          </c:extLst>
        </c:ser>
        <c:ser>
          <c:idx val="5"/>
          <c:order val="5"/>
          <c:tx>
            <c:strRef>
              <c:f>Graphs!$A$79</c:f>
              <c:strCache>
                <c:ptCount val="1"/>
                <c:pt idx="0">
                  <c:v>Guinea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79:$I$79</c:f>
              <c:numCache>
                <c:formatCode>#,##0</c:formatCode>
                <c:ptCount val="8"/>
                <c:pt idx="0">
                  <c:v>0</c:v>
                </c:pt>
                <c:pt idx="1">
                  <c:v>201282.75</c:v>
                </c:pt>
                <c:pt idx="2">
                  <c:v>442177</c:v>
                </c:pt>
                <c:pt idx="3">
                  <c:v>575927.25</c:v>
                </c:pt>
                <c:pt idx="4">
                  <c:v>840119.75</c:v>
                </c:pt>
                <c:pt idx="5">
                  <c:v>750903</c:v>
                </c:pt>
                <c:pt idx="6">
                  <c:v>1088193.5</c:v>
                </c:pt>
                <c:pt idx="7">
                  <c:v>1123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77-40D3-952E-0E869F2A5B8B}"/>
            </c:ext>
          </c:extLst>
        </c:ser>
        <c:ser>
          <c:idx val="6"/>
          <c:order val="6"/>
          <c:tx>
            <c:strRef>
              <c:f>Graphs!$A$80</c:f>
              <c:strCache>
                <c:ptCount val="1"/>
                <c:pt idx="0">
                  <c:v>Senegal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0:$I$80</c:f>
              <c:numCache>
                <c:formatCode>#,##0</c:formatCode>
                <c:ptCount val="8"/>
                <c:pt idx="0">
                  <c:v>595745.33333333337</c:v>
                </c:pt>
                <c:pt idx="1">
                  <c:v>614447</c:v>
                </c:pt>
                <c:pt idx="2">
                  <c:v>621929</c:v>
                </c:pt>
                <c:pt idx="3">
                  <c:v>631921.33333333337</c:v>
                </c:pt>
                <c:pt idx="4">
                  <c:v>0</c:v>
                </c:pt>
                <c:pt idx="5">
                  <c:v>879220</c:v>
                </c:pt>
                <c:pt idx="6">
                  <c:v>687634.66666666663</c:v>
                </c:pt>
                <c:pt idx="7">
                  <c:v>747738.66666666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577-40D3-952E-0E869F2A5B8B}"/>
            </c:ext>
          </c:extLst>
        </c:ser>
        <c:ser>
          <c:idx val="7"/>
          <c:order val="7"/>
          <c:tx>
            <c:strRef>
              <c:f>Graphs!$A$81</c:f>
              <c:strCache>
                <c:ptCount val="1"/>
                <c:pt idx="0">
                  <c:v>Togo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1:$I$81</c:f>
              <c:numCache>
                <c:formatCode>#,##0</c:formatCode>
                <c:ptCount val="8"/>
                <c:pt idx="0">
                  <c:v>127623.5</c:v>
                </c:pt>
                <c:pt idx="1">
                  <c:v>0</c:v>
                </c:pt>
                <c:pt idx="2">
                  <c:v>411811</c:v>
                </c:pt>
                <c:pt idx="3">
                  <c:v>382318.75</c:v>
                </c:pt>
                <c:pt idx="4">
                  <c:v>434161</c:v>
                </c:pt>
                <c:pt idx="5">
                  <c:v>296331.75</c:v>
                </c:pt>
                <c:pt idx="6">
                  <c:v>486715.75</c:v>
                </c:pt>
                <c:pt idx="7">
                  <c:v>47599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577-40D3-952E-0E869F2A5B8B}"/>
            </c:ext>
          </c:extLst>
        </c:ser>
        <c:ser>
          <c:idx val="8"/>
          <c:order val="8"/>
          <c:tx>
            <c:strRef>
              <c:f>Graphs!$A$82</c:f>
              <c:strCache>
                <c:ptCount val="1"/>
                <c:pt idx="0">
                  <c:v>Benin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2:$I$82</c:f>
              <c:numCache>
                <c:formatCode>#,##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14165.25</c:v>
                </c:pt>
                <c:pt idx="6">
                  <c:v>214122.75</c:v>
                </c:pt>
                <c:pt idx="7">
                  <c:v>3745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577-40D3-952E-0E869F2A5B8B}"/>
            </c:ext>
          </c:extLst>
        </c:ser>
        <c:ser>
          <c:idx val="9"/>
          <c:order val="9"/>
          <c:tx>
            <c:strRef>
              <c:f>Graphs!$A$83</c:f>
              <c:strCache>
                <c:ptCount val="1"/>
                <c:pt idx="0">
                  <c:v>Guinea-Bissau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3:$I$83</c:f>
              <c:numCache>
                <c:formatCode>#,##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36680.5</c:v>
                </c:pt>
                <c:pt idx="3">
                  <c:v>166161.75</c:v>
                </c:pt>
                <c:pt idx="4">
                  <c:v>90998</c:v>
                </c:pt>
                <c:pt idx="5">
                  <c:v>86107.25</c:v>
                </c:pt>
                <c:pt idx="6">
                  <c:v>86107.25</c:v>
                </c:pt>
                <c:pt idx="7">
                  <c:v>10839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577-40D3-952E-0E869F2A5B8B}"/>
            </c:ext>
          </c:extLst>
        </c:ser>
        <c:ser>
          <c:idx val="10"/>
          <c:order val="10"/>
          <c:tx>
            <c:strRef>
              <c:f>Graphs!$A$84</c:f>
              <c:strCache>
                <c:ptCount val="1"/>
                <c:pt idx="0">
                  <c:v>Mali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4:$I$84</c:f>
              <c:numCache>
                <c:formatCode>#,##0</c:formatCode>
                <c:ptCount val="8"/>
                <c:pt idx="0">
                  <c:v>699880</c:v>
                </c:pt>
                <c:pt idx="1">
                  <c:v>1999987</c:v>
                </c:pt>
                <c:pt idx="2">
                  <c:v>3849671.75</c:v>
                </c:pt>
                <c:pt idx="3">
                  <c:v>3990095.5</c:v>
                </c:pt>
                <c:pt idx="4">
                  <c:v>4278401</c:v>
                </c:pt>
                <c:pt idx="5">
                  <c:v>3767205.25</c:v>
                </c:pt>
                <c:pt idx="6">
                  <c:v>3739238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577-40D3-952E-0E869F2A5B8B}"/>
            </c:ext>
          </c:extLst>
        </c:ser>
        <c:ser>
          <c:idx val="11"/>
          <c:order val="11"/>
          <c:tx>
            <c:strRef>
              <c:f>Graphs!$A$85</c:f>
              <c:strCache>
                <c:ptCount val="1"/>
                <c:pt idx="0">
                  <c:v>Cameroon</c:v>
                </c:pt>
              </c:strCache>
            </c:strRef>
          </c:tx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5:$I$85</c:f>
              <c:numCache>
                <c:formatCode>#,##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1070865</c:v>
                </c:pt>
                <c:pt idx="3">
                  <c:v>1581182.75</c:v>
                </c:pt>
                <c:pt idx="4">
                  <c:v>1636658</c:v>
                </c:pt>
                <c:pt idx="5">
                  <c:v>1681736.75</c:v>
                </c:pt>
                <c:pt idx="6">
                  <c:v>1780741.75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577-40D3-952E-0E869F2A5B8B}"/>
            </c:ext>
          </c:extLst>
        </c:ser>
        <c:ser>
          <c:idx val="12"/>
          <c:order val="12"/>
          <c:tx>
            <c:strRef>
              <c:f>Graphs!$A$86</c:f>
              <c:strCache>
                <c:ptCount val="1"/>
                <c:pt idx="0">
                  <c:v>Gambia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numRef>
              <c:f>Graphs!$B$73:$I$73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cat>
          <c:val>
            <c:numRef>
              <c:f>Graphs!$B$86:$I$86</c:f>
              <c:numCache>
                <c:formatCode>#,##0</c:formatCode>
                <c:ptCount val="8"/>
                <c:pt idx="0">
                  <c:v>48953</c:v>
                </c:pt>
                <c:pt idx="1">
                  <c:v>76450</c:v>
                </c:pt>
                <c:pt idx="2">
                  <c:v>73709.75</c:v>
                </c:pt>
                <c:pt idx="3">
                  <c:v>76726.25</c:v>
                </c:pt>
                <c:pt idx="4">
                  <c:v>101511</c:v>
                </c:pt>
                <c:pt idx="5">
                  <c:v>110869.5</c:v>
                </c:pt>
                <c:pt idx="6">
                  <c:v>121833.5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577-40D3-952E-0E869F2A5B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106528"/>
        <c:axId val="591105544"/>
      </c:areaChart>
      <c:catAx>
        <c:axId val="591106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1105544"/>
        <c:crosses val="autoZero"/>
        <c:auto val="1"/>
        <c:lblAlgn val="ctr"/>
        <c:lblOffset val="100"/>
        <c:noMultiLvlLbl val="0"/>
      </c:catAx>
      <c:valAx>
        <c:axId val="591105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Average number of children cover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91106528"/>
        <c:crosses val="autoZero"/>
        <c:crossBetween val="midCat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Total</a:t>
            </a:r>
            <a:r>
              <a:rPr lang="en-US" sz="1200" baseline="0"/>
              <a:t> number of SMC treatment planned versus 2021 actual</a:t>
            </a:r>
            <a:endParaRPr lang="en-US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phs!$B$115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A$116:$A$119</c:f>
              <c:strCache>
                <c:ptCount val="4"/>
                <c:pt idx="0">
                  <c:v>2021* actual</c:v>
                </c:pt>
                <c:pt idx="1">
                  <c:v>2022 planned</c:v>
                </c:pt>
                <c:pt idx="2">
                  <c:v>2023 planned</c:v>
                </c:pt>
                <c:pt idx="3">
                  <c:v>2024 planned</c:v>
                </c:pt>
              </c:strCache>
            </c:strRef>
          </c:cat>
          <c:val>
            <c:numRef>
              <c:f>Graphs!$B$116:$B$119</c:f>
              <c:numCache>
                <c:formatCode>#,##0</c:formatCode>
                <c:ptCount val="4"/>
                <c:pt idx="0">
                  <c:v>32465456</c:v>
                </c:pt>
                <c:pt idx="1">
                  <c:v>26867124.993635997</c:v>
                </c:pt>
                <c:pt idx="2">
                  <c:v>28064161.687200271</c:v>
                </c:pt>
                <c:pt idx="3">
                  <c:v>28628030.992985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12-4D0E-9256-07437107C4E4}"/>
            </c:ext>
          </c:extLst>
        </c:ser>
        <c:ser>
          <c:idx val="1"/>
          <c:order val="1"/>
          <c:tx>
            <c:strRef>
              <c:f>Graphs!$C$115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A$116:$A$119</c:f>
              <c:strCache>
                <c:ptCount val="4"/>
                <c:pt idx="0">
                  <c:v>2021* actual</c:v>
                </c:pt>
                <c:pt idx="1">
                  <c:v>2022 planned</c:v>
                </c:pt>
                <c:pt idx="2">
                  <c:v>2023 planned</c:v>
                </c:pt>
                <c:pt idx="3">
                  <c:v>2024 planned</c:v>
                </c:pt>
              </c:strCache>
            </c:strRef>
          </c:cat>
          <c:val>
            <c:numRef>
              <c:f>Graphs!$C$116:$C$119</c:f>
              <c:numCache>
                <c:formatCode>#,##0</c:formatCode>
                <c:ptCount val="4"/>
                <c:pt idx="0">
                  <c:v>124581047</c:v>
                </c:pt>
                <c:pt idx="1">
                  <c:v>117562539.90686718</c:v>
                </c:pt>
                <c:pt idx="2">
                  <c:v>122840780.44008389</c:v>
                </c:pt>
                <c:pt idx="3">
                  <c:v>125413572.637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12-4D0E-9256-07437107C4E4}"/>
            </c:ext>
          </c:extLst>
        </c:ser>
        <c:ser>
          <c:idx val="2"/>
          <c:order val="2"/>
          <c:tx>
            <c:strRef>
              <c:f>Graphs!$D$115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A$116:$A$119</c:f>
              <c:strCache>
                <c:ptCount val="4"/>
                <c:pt idx="0">
                  <c:v>2021* actual</c:v>
                </c:pt>
                <c:pt idx="1">
                  <c:v>2022 planned</c:v>
                </c:pt>
                <c:pt idx="2">
                  <c:v>2023 planned</c:v>
                </c:pt>
                <c:pt idx="3">
                  <c:v>2024 planned</c:v>
                </c:pt>
              </c:strCache>
            </c:strRef>
          </c:cat>
          <c:val>
            <c:numRef>
              <c:f>Graphs!$D$116:$D$119</c:f>
              <c:numCache>
                <c:formatCode>#,##0</c:formatCode>
                <c:ptCount val="4"/>
                <c:pt idx="0">
                  <c:v>995671</c:v>
                </c:pt>
                <c:pt idx="1">
                  <c:v>1373728.2250000001</c:v>
                </c:pt>
                <c:pt idx="2">
                  <c:v>1523989.5256249998</c:v>
                </c:pt>
                <c:pt idx="3">
                  <c:v>1586752.2262656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12-4D0E-9256-07437107C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814152192"/>
        <c:axId val="814154160"/>
      </c:barChart>
      <c:catAx>
        <c:axId val="814152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14154160"/>
        <c:crosses val="autoZero"/>
        <c:auto val="1"/>
        <c:lblAlgn val="ctr"/>
        <c:lblOffset val="100"/>
        <c:noMultiLvlLbl val="0"/>
      </c:catAx>
      <c:valAx>
        <c:axId val="814154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Total number of treatmen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14152192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FA599DB5-F951-465E-9D7E-371F7B638051}" type="datetimeFigureOut">
              <a:rPr lang="en-US" smtClean="0"/>
              <a:pPr/>
              <a:t>2/2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DAE7F38-D7FC-49C1-9028-C8337DBBF6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35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2326" indent="-281664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26655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77317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27979" indent="-225331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78641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29303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79965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30627" indent="-225331" defTabSz="45066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15212E8B-A4EC-412D-8B9B-2DB6F4206A75}" type="slidenum">
              <a:rPr lang="fr-FR" altLang="en-US">
                <a:solidFill>
                  <a:prstClr val="black"/>
                </a:solidFill>
              </a:rPr>
              <a:pPr/>
              <a:t>1</a:t>
            </a:fld>
            <a:endParaRPr lang="fr-F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79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57202" y="61856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42535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9306A-5625-414C-BC6B-7B060C8797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1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035D6-95BB-49EA-A73A-D468B4973E0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21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17381-96F6-4A03-B496-F7A64C84E1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261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B719B-E54D-4F5C-8928-5D8158DE655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75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2D1CE-B6ED-4ADD-8BCF-C37162A929F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4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3C81-C750-4079-B713-1D2CE4C68C1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35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F05A-8047-4243-89AD-2D4C57653CD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17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B0B2E-9FE5-4C87-A44A-58EAFFAB165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5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D385-62A9-4CFF-B56C-1046281EB1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29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28EE3-F15F-42BF-AB1D-F2C9AAEFD72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62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068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F2079-A98F-4C19-8926-5593C135B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287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13529-3FE1-4D24-BC01-867ECBCD369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580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AA38F-569C-40FD-A208-222B1CA3F0F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2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B358C-538C-4143-8B3E-6DF8394AEC7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8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4FDF7-9D13-4E81-B3F6-5B7A3BA80F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6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EB238-F5F9-412D-AB29-85B2D05B60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037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D6030-1CF0-49FB-8265-2F14BA6A908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8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0E1E4-1C7B-4E02-804A-3C7AE9A778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586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5B42-B961-4709-A9EA-CA774A09516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6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70956-3165-49A6-8562-BCFC76D3C73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86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1" descr="img_coverAR2017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3" y="-1010867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"/>
          <p:cNvSpPr>
            <a:spLocks/>
          </p:cNvSpPr>
          <p:nvPr/>
        </p:nvSpPr>
        <p:spPr bwMode="auto">
          <a:xfrm>
            <a:off x="-22627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/>
          </a:p>
        </p:txBody>
      </p:sp>
      <p:sp>
        <p:nvSpPr>
          <p:cNvPr id="16" name="Ellipse 15"/>
          <p:cNvSpPr>
            <a:spLocks noChangeAspect="1"/>
          </p:cNvSpPr>
          <p:nvPr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50" dirty="0"/>
              <a:t>    </a:t>
            </a:r>
          </a:p>
        </p:txBody>
      </p:sp>
      <p:pic>
        <p:nvPicPr>
          <p:cNvPr id="19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9" y="5894476"/>
            <a:ext cx="2760687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618644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702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125DD-AD8A-442B-AC52-74205DAFE4F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0756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43196-4D66-412D-A0D0-164B33D39A0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047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6D5B-A693-49C5-AD9B-5B5EAB88B0C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524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4A2F2-7D83-4A4D-ACFA-4DF6CB35EE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250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F3117-AB47-4851-AD43-B9812DA1DAD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161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>
                <a:tab pos="4613275" algn="l"/>
                <a:tab pos="4708525" algn="l"/>
              </a:tabLst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8C71-5243-4C45-82D2-D0E8EEF539C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2938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6E3C2-2BF0-4B07-B891-37E1D26476D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595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8DB25-228E-4E0B-9880-20EA68732DE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88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224F5-A906-4F8D-B729-717FC74555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5504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CB705-A920-42C6-8860-D661C21F016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10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ED6D-2CE0-47C4-A54B-9CE08FF7867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240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3330-79E9-40E1-9A03-C2C867BC33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69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487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A2C82-B936-4F6C-8E9E-86AF023CC14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519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56497-C19B-4BC4-9BB0-8518614F9C4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6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E5284-2D3E-4862-B700-3D493BF22A4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96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E73D-2E19-4501-BF8F-6D9FBBA7141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580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A0AD2-A050-42E6-8DA5-EC94044FAB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1207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842B3-4DF2-443A-A232-93818335A0B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858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0D2DD-895A-4D49-A633-CA29E391843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642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34610"/>
            <a:ext cx="10515600" cy="1325563"/>
          </a:xfrm>
        </p:spPr>
        <p:txBody>
          <a:bodyPr/>
          <a:lstStyle>
            <a:lvl1pPr>
              <a:defRPr>
                <a:solidFill>
                  <a:srgbClr val="66006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BDCF-00BA-4D8C-A7F5-4F71EE539E0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903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D82C-C62D-49BA-90E7-FECB546895A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98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D792-F589-4ACE-92F6-205EBEA779D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0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BAEB-106B-4A6E-B878-49685DFB7D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36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74748-07EA-4095-9F4E-870F960F2E8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385207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350000" imgH="6350000" progId="TCLayout.ActiveDocument.1">
                  <p:embed/>
                </p:oleObj>
              </mc:Choice>
              <mc:Fallback>
                <p:oleObj name="think-cell Slide" r:id="rId7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17924D-B118-4D6C-8942-967B8487397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7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67" y="36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365F6-B9A7-44C6-87F1-811CE78F45B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D56F5-B27D-4927-B5F6-0CA7AB4375C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8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C5E2C-D2BF-4DA6-B0B4-7921087E383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28/02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5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ZoneTexte 1"/>
          <p:cNvSpPr txBox="1">
            <a:spLocks noChangeArrowheads="1"/>
          </p:cNvSpPr>
          <p:nvPr/>
        </p:nvSpPr>
        <p:spPr bwMode="auto">
          <a:xfrm>
            <a:off x="438161" y="725530"/>
            <a:ext cx="4542211" cy="95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4" tIns="45717" rIns="91434" bIns="45717">
            <a:spAutoFit/>
          </a:bodyPr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</a:pPr>
            <a:r>
              <a:rPr lang="en-GB" altLang="en-US" sz="2800" dirty="0">
                <a:solidFill>
                  <a:schemeClr val="bg1"/>
                </a:solidFill>
              </a:rPr>
              <a:t>SMC 2021 overview and 2022 planning</a:t>
            </a:r>
          </a:p>
        </p:txBody>
      </p:sp>
      <p:sp>
        <p:nvSpPr>
          <p:cNvPr id="9220" name="Rectangle 3"/>
          <p:cNvSpPr txBox="1">
            <a:spLocks noChangeArrowheads="1"/>
          </p:cNvSpPr>
          <p:nvPr/>
        </p:nvSpPr>
        <p:spPr bwMode="auto">
          <a:xfrm>
            <a:off x="415441" y="2531821"/>
            <a:ext cx="4318552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SMC Alliance Annual Meeting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01 to 03 March 2022</a:t>
            </a: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endParaRPr lang="en-GB" altLang="en-US" sz="2000" b="0" dirty="0">
              <a:solidFill>
                <a:prstClr val="white"/>
              </a:solidFill>
            </a:endParaRPr>
          </a:p>
          <a:p>
            <a:pPr fontAlgn="base">
              <a:spcAft>
                <a:spcPct val="0"/>
              </a:spcAft>
              <a:buClr>
                <a:srgbClr val="B30076"/>
              </a:buClr>
              <a:buFontTx/>
              <a:buNone/>
            </a:pPr>
            <a:r>
              <a:rPr lang="en-GB" altLang="en-US" sz="2000" b="0" dirty="0">
                <a:solidFill>
                  <a:prstClr val="white"/>
                </a:solidFill>
              </a:rPr>
              <a:t>Céline Audibert</a:t>
            </a:r>
          </a:p>
          <a:p>
            <a:pPr defTabSz="685800">
              <a:buClr>
                <a:srgbClr val="B30076"/>
              </a:buClr>
              <a:buNone/>
            </a:pPr>
            <a:r>
              <a:rPr lang="en-GB" altLang="en-US" sz="2000" dirty="0">
                <a:solidFill>
                  <a:schemeClr val="bg1"/>
                </a:solidFill>
              </a:rPr>
              <a:t>Director market research, APM</a:t>
            </a:r>
          </a:p>
        </p:txBody>
      </p:sp>
      <p:sp>
        <p:nvSpPr>
          <p:cNvPr id="9221" name="Sous-titre 2"/>
          <p:cNvSpPr txBox="1">
            <a:spLocks/>
          </p:cNvSpPr>
          <p:nvPr/>
        </p:nvSpPr>
        <p:spPr bwMode="auto">
          <a:xfrm>
            <a:off x="262105" y="6380171"/>
            <a:ext cx="3968751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itchFamily="34" charset="0"/>
              <a:buChar char="•"/>
              <a:defRPr sz="24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itchFamily="34" charset="0"/>
              <a:buChar char="•"/>
              <a:defRPr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defTabSz="457170" fontAlgn="base">
              <a:spcAft>
                <a:spcPct val="0"/>
              </a:spcAft>
              <a:buNone/>
            </a:pPr>
            <a:r>
              <a:rPr lang="en-GB" altLang="en-US" sz="2000" dirty="0">
                <a:solidFill>
                  <a:srgbClr val="A7005F"/>
                </a:solidFill>
              </a:rPr>
              <a:t>Defeating Malaria Together</a:t>
            </a:r>
          </a:p>
        </p:txBody>
      </p:sp>
    </p:spTree>
    <p:extLst>
      <p:ext uri="{BB962C8B-B14F-4D97-AF65-F5344CB8AC3E}">
        <p14:creationId xmlns:p14="http://schemas.microsoft.com/office/powerpoint/2010/main" val="1114580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Methodology for data collection and analysi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F1147286-4B97-4CDC-B06F-33BD60399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546" y="1012097"/>
            <a:ext cx="10837554" cy="5189035"/>
          </a:xfrm>
        </p:spPr>
        <p:txBody>
          <a:bodyPr/>
          <a:lstStyle/>
          <a:p>
            <a:r>
              <a:rPr lang="en-US" sz="1800" dirty="0"/>
              <a:t>Data collection template sent to NMCP/SMC focal point at the end of each SMC campaigns since 2014</a:t>
            </a:r>
          </a:p>
          <a:p>
            <a:endParaRPr lang="en-US" sz="1800" dirty="0"/>
          </a:p>
          <a:p>
            <a:r>
              <a:rPr lang="en-US" sz="1800" dirty="0"/>
              <a:t>Past SMC campaign data: </a:t>
            </a:r>
            <a:r>
              <a:rPr lang="en-US" sz="1800" dirty="0">
                <a:solidFill>
                  <a:schemeClr val="tx1"/>
                </a:solidFill>
              </a:rPr>
              <a:t>Number of children Planned versus Covered, </a:t>
            </a:r>
            <a:r>
              <a:rPr lang="en-US" sz="1800" dirty="0"/>
              <a:t>s</a:t>
            </a:r>
            <a:r>
              <a:rPr lang="en-US" sz="1800" dirty="0">
                <a:solidFill>
                  <a:schemeClr val="tx1"/>
                </a:solidFill>
              </a:rPr>
              <a:t>plit by age group, district and by cycle. Added possibility to perform 5 cycles for 2021 campaign</a:t>
            </a:r>
          </a:p>
          <a:p>
            <a:endParaRPr lang="en-US" sz="1800" dirty="0"/>
          </a:p>
          <a:p>
            <a:r>
              <a:rPr lang="en-US" sz="1800" dirty="0"/>
              <a:t>Planning for future SMC campaign (2022, 2023, 2024): </a:t>
            </a:r>
            <a:r>
              <a:rPr lang="en-US" sz="1800" dirty="0">
                <a:solidFill>
                  <a:schemeClr val="tx1"/>
                </a:solidFill>
              </a:rPr>
              <a:t>Number of children planned by age group, district and cycle. Added possibility to perform 5 cycles for 2021 campaign</a:t>
            </a:r>
          </a:p>
          <a:p>
            <a:endParaRPr lang="en-US" sz="1800" dirty="0"/>
          </a:p>
          <a:p>
            <a:r>
              <a:rPr lang="en-US" sz="1800" dirty="0"/>
              <a:t>Data reported as average number of children based on 4 cycles</a:t>
            </a:r>
            <a:endParaRPr lang="en-US" sz="1800" dirty="0">
              <a:solidFill>
                <a:schemeClr val="tx1"/>
              </a:solidFill>
            </a:endParaRPr>
          </a:p>
          <a:p>
            <a:endParaRPr lang="en-US" sz="18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872791-C5FB-484C-989E-E172CEF96C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10" y="4355010"/>
            <a:ext cx="11520042" cy="2431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956018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SMC 2021: average number of children covered versus planned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3C1DE9D-4170-4D07-935F-13560D3EF7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041267"/>
              </p:ext>
            </p:extLst>
          </p:nvPr>
        </p:nvGraphicFramePr>
        <p:xfrm>
          <a:off x="209551" y="1393825"/>
          <a:ext cx="5753100" cy="407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AE410AB-C102-4485-BE1A-FEFFD59DF8BE}"/>
              </a:ext>
            </a:extLst>
          </p:cNvPr>
          <p:cNvCxnSpPr>
            <a:cxnSpLocks/>
          </p:cNvCxnSpPr>
          <p:nvPr/>
        </p:nvCxnSpPr>
        <p:spPr>
          <a:xfrm>
            <a:off x="6572250" y="2661870"/>
            <a:ext cx="53721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4FD569A-EC97-4C82-951A-ECB080E76B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499013"/>
              </p:ext>
            </p:extLst>
          </p:nvPr>
        </p:nvGraphicFramePr>
        <p:xfrm>
          <a:off x="6096000" y="1393824"/>
          <a:ext cx="5993872" cy="4070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A4EFA6D-9C31-49B2-9075-340C22DFF792}"/>
              </a:ext>
            </a:extLst>
          </p:cNvPr>
          <p:cNvSpPr txBox="1"/>
          <p:nvPr/>
        </p:nvSpPr>
        <p:spPr>
          <a:xfrm>
            <a:off x="762000" y="5715000"/>
            <a:ext cx="8667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untries doing 5 cycles: Burkina Faso, Chad, Guinea, Nigeria</a:t>
            </a:r>
          </a:p>
          <a:p>
            <a:r>
              <a:rPr lang="en-US" dirty="0"/>
              <a:t>Countries where the 4</a:t>
            </a:r>
            <a:r>
              <a:rPr lang="en-US" baseline="30000" dirty="0"/>
              <a:t>th</a:t>
            </a:r>
            <a:r>
              <a:rPr lang="en-US" dirty="0"/>
              <a:t> cycle was not fully done: Ghana, Niger</a:t>
            </a:r>
          </a:p>
          <a:p>
            <a:r>
              <a:rPr lang="en-US" dirty="0"/>
              <a:t>Country doing 3 cycles in majority of district: Senega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939836243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SMC 2021: Coverage by age grou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F757555-C91D-4094-9388-33196B1783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8985490"/>
              </p:ext>
            </p:extLst>
          </p:nvPr>
        </p:nvGraphicFramePr>
        <p:xfrm>
          <a:off x="238125" y="1426086"/>
          <a:ext cx="5655205" cy="4727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DE35F0D-1A4C-4511-8FB7-55F21374B0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2071985"/>
              </p:ext>
            </p:extLst>
          </p:nvPr>
        </p:nvGraphicFramePr>
        <p:xfrm>
          <a:off x="6096000" y="1426086"/>
          <a:ext cx="5934075" cy="4727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79066094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0849791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rend in SMC: average number of children covered since 2014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E56BE1A-9228-4F36-9DA0-E92F69C97378}"/>
              </a:ext>
            </a:extLst>
          </p:cNvPr>
          <p:cNvSpPr txBox="1"/>
          <p:nvPr/>
        </p:nvSpPr>
        <p:spPr>
          <a:xfrm>
            <a:off x="630547" y="6134100"/>
            <a:ext cx="9608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The projected line assumes that Cameroon, Gambia and Mali will cover the same number of children than in 2020 </a:t>
            </a:r>
            <a:endParaRPr lang="fr-CH" i="1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630AA93-6CBF-4C13-996E-04D25D8059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2763777"/>
              </p:ext>
            </p:extLst>
          </p:nvPr>
        </p:nvGraphicFramePr>
        <p:xfrm>
          <a:off x="1233182" y="1115735"/>
          <a:ext cx="8783273" cy="48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28459529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rend in SMC: average # of children covered since 2014 per country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E56BE1A-9228-4F36-9DA0-E92F69C97378}"/>
              </a:ext>
            </a:extLst>
          </p:cNvPr>
          <p:cNvSpPr txBox="1"/>
          <p:nvPr/>
        </p:nvSpPr>
        <p:spPr>
          <a:xfrm>
            <a:off x="630547" y="6276975"/>
            <a:ext cx="9608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2021 campaign data from Cameroon, Gambia and Mali to be updated  </a:t>
            </a:r>
            <a:endParaRPr lang="fr-CH" i="1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8D9608A-5788-4C4F-97C0-8D9996A6B5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3759949"/>
              </p:ext>
            </p:extLst>
          </p:nvPr>
        </p:nvGraphicFramePr>
        <p:xfrm>
          <a:off x="1400175" y="1014778"/>
          <a:ext cx="9608828" cy="496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6423954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SMC planning: total number of treatment needed per year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E56BE1A-9228-4F36-9DA0-E92F69C97378}"/>
              </a:ext>
            </a:extLst>
          </p:cNvPr>
          <p:cNvSpPr txBox="1"/>
          <p:nvPr/>
        </p:nvSpPr>
        <p:spPr>
          <a:xfrm>
            <a:off x="630547" y="6000750"/>
            <a:ext cx="9608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2021: actual based on 10 countries (missing Cameroon, Gambia and Mali)</a:t>
            </a:r>
          </a:p>
          <a:p>
            <a:r>
              <a:rPr lang="en-US" i="1" dirty="0"/>
              <a:t>Planned: Missing data from Chad, Cameroon, Gambia and Mali </a:t>
            </a:r>
            <a:endParaRPr lang="fr-CH" i="1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696B7CB-2383-403D-8636-47D29A7D46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5638403"/>
              </p:ext>
            </p:extLst>
          </p:nvPr>
        </p:nvGraphicFramePr>
        <p:xfrm>
          <a:off x="2305051" y="1228725"/>
          <a:ext cx="8124824" cy="427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07887163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ank you!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779733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heme/theme1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 Nov 2018 - Board Membership_SFD" id="{0BAB3EFF-A35A-4969-A8F2-5E44BA012E50}" vid="{CD0EBB2C-D1D5-414B-84B1-504A7A61862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69</TotalTime>
  <Words>352</Words>
  <Application>Microsoft Office PowerPoint</Application>
  <PresentationFormat>Widescreen</PresentationFormat>
  <Paragraphs>42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ourier New</vt:lpstr>
      <vt:lpstr>System Font Regular</vt:lpstr>
      <vt:lpstr>Wingdings</vt:lpstr>
      <vt:lpstr>Thème Office</vt:lpstr>
      <vt:lpstr>Custom Design</vt:lpstr>
      <vt:lpstr>1_Custom Design</vt:lpstr>
      <vt:lpstr>2_Custom Design</vt:lpstr>
      <vt:lpstr>3_Custom Design</vt:lpstr>
      <vt:lpstr>think-cell Slide</vt:lpstr>
      <vt:lpstr>PowerPoint Presentation</vt:lpstr>
      <vt:lpstr>Methodology for data collection and analy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V-supported projects</dc:title>
  <dc:creator>Jaya Banerji</dc:creator>
  <cp:lastModifiedBy>Celine Audibert</cp:lastModifiedBy>
  <cp:revision>1078</cp:revision>
  <cp:lastPrinted>2020-01-14T13:32:23Z</cp:lastPrinted>
  <dcterms:created xsi:type="dcterms:W3CDTF">2018-10-16T01:49:16Z</dcterms:created>
  <dcterms:modified xsi:type="dcterms:W3CDTF">2022-02-28T12:53:18Z</dcterms:modified>
</cp:coreProperties>
</file>